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6" r:id="rId4"/>
  </p:sldMasterIdLst>
  <p:notesMasterIdLst>
    <p:notesMasterId r:id="rId43"/>
  </p:notesMasterIdLst>
  <p:sldIdLst>
    <p:sldId id="2147475169" r:id="rId5"/>
    <p:sldId id="2147475170" r:id="rId6"/>
    <p:sldId id="2147475171" r:id="rId7"/>
    <p:sldId id="2147475172" r:id="rId8"/>
    <p:sldId id="2147475173" r:id="rId9"/>
    <p:sldId id="2147475174" r:id="rId10"/>
    <p:sldId id="2147475175" r:id="rId11"/>
    <p:sldId id="2147475176" r:id="rId12"/>
    <p:sldId id="2147475177" r:id="rId13"/>
    <p:sldId id="2147475178" r:id="rId14"/>
    <p:sldId id="2147475179" r:id="rId15"/>
    <p:sldId id="2147475180" r:id="rId16"/>
    <p:sldId id="2147475181" r:id="rId17"/>
    <p:sldId id="2147475182" r:id="rId18"/>
    <p:sldId id="2147475183" r:id="rId19"/>
    <p:sldId id="2147475184" r:id="rId20"/>
    <p:sldId id="2147475185" r:id="rId21"/>
    <p:sldId id="2147475186" r:id="rId22"/>
    <p:sldId id="2147475187" r:id="rId23"/>
    <p:sldId id="2147475188" r:id="rId24"/>
    <p:sldId id="2147475189" r:id="rId25"/>
    <p:sldId id="2147475190" r:id="rId26"/>
    <p:sldId id="2147475191" r:id="rId27"/>
    <p:sldId id="2147475192" r:id="rId28"/>
    <p:sldId id="2147475193" r:id="rId29"/>
    <p:sldId id="2147475194" r:id="rId30"/>
    <p:sldId id="2147475195" r:id="rId31"/>
    <p:sldId id="2147475196" r:id="rId32"/>
    <p:sldId id="2147475197" r:id="rId33"/>
    <p:sldId id="2147475198" r:id="rId34"/>
    <p:sldId id="2147475199" r:id="rId35"/>
    <p:sldId id="2147475200" r:id="rId36"/>
    <p:sldId id="2147475201" r:id="rId37"/>
    <p:sldId id="2147475202" r:id="rId38"/>
    <p:sldId id="2147475203" r:id="rId39"/>
    <p:sldId id="2147475204" r:id="rId40"/>
    <p:sldId id="2147475205" r:id="rId41"/>
    <p:sldId id="2147475206" r:id="rId4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Mix Analysis by Retailer for Region" id="{3178C671-3E57-442A-A17A-EA79C6DA5C14}">
          <p14:sldIdLst>
            <p14:sldId id="2147475169"/>
            <p14:sldId id="2147475170"/>
            <p14:sldId id="2147475171"/>
            <p14:sldId id="2147475172"/>
            <p14:sldId id="2147475173"/>
          </p14:sldIdLst>
        </p14:section>
        <p14:section name="Mix Analysis by Retailer for Market" id="{B4D75BD8-1E94-4F60-84FF-147CE6F36999}">
          <p14:sldIdLst>
            <p14:sldId id="2147475174"/>
            <p14:sldId id="2147475175"/>
            <p14:sldId id="2147475176"/>
            <p14:sldId id="2147475177"/>
            <p14:sldId id="2147475178"/>
          </p14:sldIdLst>
        </p14:section>
        <p14:section name="Mix Analysis by Sector" id="{2B8FC3DA-0DF9-43DE-B606-98302F1B68D5}">
          <p14:sldIdLst>
            <p14:sldId id="2147475179"/>
            <p14:sldId id="2147475180"/>
            <p14:sldId id="2147475181"/>
            <p14:sldId id="2147475182"/>
          </p14:sldIdLst>
        </p14:section>
        <p14:section name="Mix Analysis by Segment" id="{4A9395D1-86E8-435B-97E6-F089D6FE343B}">
          <p14:sldIdLst>
            <p14:sldId id="2147475183"/>
            <p14:sldId id="2147475184"/>
            <p14:sldId id="2147475185"/>
            <p14:sldId id="2147475186"/>
          </p14:sldIdLst>
        </p14:section>
        <p14:section name="Mix Analysis bySKU" id="{0C48E07C-F6A0-41EB-A214-A92E14D0C0CC}">
          <p14:sldIdLst>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D"/>
    <a:srgbClr val="7ECAC4"/>
    <a:srgbClr val="FF8080"/>
    <a:srgbClr val="FFBFBF"/>
    <a:srgbClr val="00A097"/>
    <a:srgbClr val="7DC9C4"/>
    <a:srgbClr val="A6DAD6"/>
    <a:srgbClr val="FFFFFF"/>
    <a:srgbClr val="C00000"/>
    <a:srgbClr val="8DCF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E81D5E-7428-4206-B7E6-6B818DF1C011}" v="12" dt="2024-11-01T08:47:36.4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notesMaster" Target="notesMasters/notesMaster1.xml"/><Relationship Id="rId44" Type="http://schemas.openxmlformats.org/officeDocument/2006/relationships/presProps" Target="presProps.xml"/><Relationship Id="rId45" Type="http://schemas.openxmlformats.org/officeDocument/2006/relationships/viewProps" Target="viewProps.xml"/><Relationship Id="rId46" Type="http://schemas.openxmlformats.org/officeDocument/2006/relationships/theme" Target="theme/theme1.xml"/><Relationship Id="rId47" Type="http://schemas.openxmlformats.org/officeDocument/2006/relationships/tableStyles" Target="tableStyles.xml"/><Relationship Id="rId48" Type="http://schemas.microsoft.com/office/2015/10/relationships/revisionInfo" Target="revisionInfo.xml"/><Relationship Id="rId49"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16E722F-EBD4-4710-BDAB-4C2AA9E321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81A23FF-93E4-40F7-AB9E-AEFF1261D2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C70F5A2-30FB-4C5B-9F45-2AA4BD2D37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E3E38B79-A347-4BC0-AC37-F07F63716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0619AC6-1A1C-4B45-92B6-80B1E9329F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0D0FD0E-80B3-42F1-8D9D-B4315AAB8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2961974-393E-4A0E-9BAF-C04FAC59C8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6167F93-A37E-4385-A3B4-0910F8AA48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3248</c:v>
                </c:pt>
              </c:numCache>
            </c:numRef>
          </c:xVal>
          <c:yVal>
            <c:numRef>
              <c:f>Sheet1!$B$2:$B$2</c:f>
              <c:numCache>
                <c:formatCode>General</c:formatCode>
                <c:ptCount val="1"/>
                <c:pt idx="0">
                  <c:v>0.6549</c:v>
                </c:pt>
              </c:numCache>
            </c:numRef>
          </c:yVal>
          <c:bubbleSize>
            <c:numRef>
              <c:f>Sheet1!$C$2:$C$2</c:f>
              <c:numCache>
                <c:formatCode>General</c:formatCode>
                <c:ptCount val="1"/>
                <c:pt idx="0">
                  <c:v>5594958.6237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
        <c:crossBetween val="midCat"/>
      </c:valAx>
      <c:valAx>
        <c:axId val="1011451359"/>
        <c:scaling>
          <c:orientation val="minMax"/>
          <c:max val="1.14588"/>
          <c:min val="0.28392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4EDC340-F7C9-4FB9-BFF8-FDAD35C3E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D503A8C-1355-4E9C-98A5-4A8533B8C9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3236273-A734-4D3D-B61A-A597647885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E2C0C9D-460C-4CDF-97A6-EB4208C73F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B0DDFE5-D2B1-4B78-B783-652FE69528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89157604-C43D-40C5-A025-4ABD5DECA7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1CBBB99-D27B-4073-8F80-51BDDC1CB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8072322-EFE4-4011-B531-E113C60979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89</c:v>
                </c:pt>
                <c:pt idx="1">
                  <c:v>2.1586</c:v>
                </c:pt>
                <c:pt idx="2">
                  <c:v>2.1592</c:v>
                </c:pt>
              </c:numCache>
            </c:numRef>
          </c:xVal>
          <c:yVal>
            <c:numRef>
              <c:f>Sheet1!$B$2:$B$4</c:f>
              <c:numCache>
                <c:formatCode>General</c:formatCode>
                <c:ptCount val="3"/>
                <c:pt idx="0">
                  <c:v>0.4199</c:v>
                </c:pt>
                <c:pt idx="1">
                  <c:v>0.4195</c:v>
                </c:pt>
                <c:pt idx="2">
                  <c:v>0.4198</c:v>
                </c:pt>
              </c:numCache>
            </c:numRef>
          </c:yVal>
          <c:bubbleSize>
            <c:numRef>
              <c:f>Sheet1!$C$2:$C$4</c:f>
              <c:numCache>
                <c:formatCode>General</c:formatCode>
                <c:ptCount val="3"/>
                <c:pt idx="0">
                  <c:v>89489.1704</c:v>
                </c:pt>
                <c:pt idx="1">
                  <c:v>78650.09289999999</c:v>
                </c:pt>
                <c:pt idx="2">
                  <c:v>1046552.1157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78794252508744"/>
        <c:crossBetween val="midCat"/>
      </c:valAx>
      <c:valAx>
        <c:axId val="1011451359"/>
        <c:scaling>
          <c:orientation val="minMax"/>
          <c:max val="0.86388"/>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39048874360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259FE81-B8E4-4D40-B0E4-EB0EA36A6F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108042F-B157-4FEA-84D0-C2D45235DE7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590C9D9-0F6A-412E-916C-21E82FCC8A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351438D5-4533-4E89-81EF-872CDF603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7C173A7-FAD0-406D-ACB7-5894D877C3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7615618-7F0B-4A9F-B6AF-BAEC4B0E6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6F72774-E2C7-40DF-A00D-E1B1EBF914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4F08238-2F6E-4653-89DD-7417948FD4A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675</c:v>
                </c:pt>
                <c:pt idx="1">
                  <c:v>1.3365</c:v>
                </c:pt>
              </c:numCache>
            </c:numRef>
          </c:xVal>
          <c:yVal>
            <c:numRef>
              <c:f>Sheet1!$B$2:$B$3</c:f>
              <c:numCache>
                <c:formatCode>General</c:formatCode>
                <c:ptCount val="2"/>
                <c:pt idx="0">
                  <c:v>0.3388</c:v>
                </c:pt>
                <c:pt idx="1">
                  <c:v>0.6511</c:v>
                </c:pt>
              </c:numCache>
            </c:numRef>
          </c:yVal>
          <c:bubbleSize>
            <c:numRef>
              <c:f>Sheet1!$C$2:$C$3</c:f>
              <c:numCache>
                <c:formatCode>General</c:formatCode>
                <c:ptCount val="2"/>
                <c:pt idx="0">
                  <c:v>912079.5515999999</c:v>
                </c:pt>
                <c:pt idx="1">
                  <c:v>386945.9783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260616620213"/>
        <c:crossBetween val="midCat"/>
      </c:valAx>
      <c:valAx>
        <c:axId val="1011451359"/>
        <c:scaling>
          <c:orientation val="minMax"/>
          <c:max val="1.1413200000000001"/>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59273452343927"/>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66BA0EF-0D9B-46E8-912E-991F15B6D7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4DE6B538-BB98-4DF6-B8C7-8E9E6F9FEB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A2C4C1A-1DAC-411C-BDE6-4798504BF4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3C27908-A041-408C-91E2-AC002D32705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C28899B-274E-4D40-BC4B-9BFF757CDCA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7D774CB-1ABF-49ED-8003-22EB201AB6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7306CEB-7024-43AB-BA3C-787781F5D6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526AD32-930D-4129-A827-196501B204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93</c:v>
                </c:pt>
                <c:pt idx="1">
                  <c:v>1.324</c:v>
                </c:pt>
              </c:numCache>
            </c:numRef>
          </c:xVal>
          <c:yVal>
            <c:numRef>
              <c:f>Sheet1!$B$2:$B$3</c:f>
              <c:numCache>
                <c:formatCode>General</c:formatCode>
                <c:ptCount val="2"/>
                <c:pt idx="0">
                  <c:v>0.3686</c:v>
                </c:pt>
                <c:pt idx="1">
                  <c:v>0.6553</c:v>
                </c:pt>
              </c:numCache>
            </c:numRef>
          </c:yVal>
          <c:bubbleSize>
            <c:numRef>
              <c:f>Sheet1!$C$2:$C$3</c:f>
              <c:numCache>
                <c:formatCode>General</c:formatCode>
                <c:ptCount val="2"/>
                <c:pt idx="0">
                  <c:v>11591402.168600012</c:v>
                </c:pt>
                <c:pt idx="1">
                  <c:v>4851507.5233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13061004828"/>
        <c:crossBetween val="midCat"/>
      </c:valAx>
      <c:valAx>
        <c:axId val="1011451359"/>
        <c:scaling>
          <c:orientation val="minMax"/>
          <c:max val="1.14636"/>
          <c:min val="0.054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01639418769322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475DA9E-BE67-4514-84E1-6437B2B386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A9E75A3-19C6-4B24-81C4-5E5396CD71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BA665D4B-1687-433F-B5C1-80205FA0AA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A6A7BA5-C7E4-45DC-8014-1D44D7FD0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D76BBD2-1968-46E7-9CBE-5C92AC0352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19241361-4464-425E-8124-345E54216E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04038E3-4AE8-4535-A562-EB79384FB9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53D43DB-B743-4D3A-95EF-53193CDDC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814</c:v>
                </c:pt>
                <c:pt idx="1">
                  <c:v>1.3228</c:v>
                </c:pt>
              </c:numCache>
            </c:numRef>
          </c:xVal>
          <c:yVal>
            <c:numRef>
              <c:f>Sheet1!$B$2:$B$3</c:f>
              <c:numCache>
                <c:formatCode>General</c:formatCode>
                <c:ptCount val="2"/>
                <c:pt idx="0">
                  <c:v>0.3546</c:v>
                </c:pt>
                <c:pt idx="1">
                  <c:v>0.6533</c:v>
                </c:pt>
              </c:numCache>
            </c:numRef>
          </c:yVal>
          <c:bubbleSize>
            <c:numRef>
              <c:f>Sheet1!$C$2:$C$3</c:f>
              <c:numCache>
                <c:formatCode>General</c:formatCode>
                <c:ptCount val="2"/>
                <c:pt idx="0">
                  <c:v>952941.4383000002</c:v>
                </c:pt>
                <c:pt idx="1">
                  <c:v>356505.12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2967404644"/>
        <c:crossBetween val="midCat"/>
      </c:valAx>
      <c:valAx>
        <c:axId val="1011451359"/>
        <c:scaling>
          <c:orientation val="minMax"/>
          <c:max val="1.14396"/>
          <c:min val="0.0436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4927747757603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B1CF4F1-7F79-4D66-BF82-FAC9D8FBE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EFE20BC-624E-4E76-838A-3F6C6C7D1A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D23C2E8-DBE3-47DA-8AAE-7B44CEE631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1255734-BA09-4B5E-914F-DC4101678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91813F9-A4C5-4DED-8865-8DDF55C20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CAC4D76-C14E-427D-ACDC-AAF0AEBE4A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AAF7731-B7D8-4B29-A3E9-8E3C443387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4D42A253-0273-4C11-A924-590237EE5D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0.2956</c:v>
                </c:pt>
                <c:pt idx="1">
                  <c:v>1.3248</c:v>
                </c:pt>
              </c:numCache>
            </c:numRef>
          </c:xVal>
          <c:yVal>
            <c:numRef>
              <c:f>Sheet1!$B$2:$B$3</c:f>
              <c:numCache>
                <c:formatCode>General</c:formatCode>
                <c:ptCount val="2"/>
                <c:pt idx="0">
                  <c:v>0.3656</c:v>
                </c:pt>
                <c:pt idx="1">
                  <c:v>0.6549</c:v>
                </c:pt>
              </c:numCache>
            </c:numRef>
          </c:yVal>
          <c:bubbleSize>
            <c:numRef>
              <c:f>Sheet1!$C$2:$C$3</c:f>
              <c:numCache>
                <c:formatCode>General</c:formatCode>
                <c:ptCount val="2"/>
                <c:pt idx="0">
                  <c:v>13456423.158500016</c:v>
                </c:pt>
                <c:pt idx="1">
                  <c:v>5594958.6237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084684779724"/>
        <c:crossBetween val="midCat"/>
      </c:valAx>
      <c:valAx>
        <c:axId val="1011451359"/>
        <c:scaling>
          <c:orientation val="minMax"/>
          <c:max val="1.14588"/>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97852691240072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01B2216-6F63-455D-AC56-C3D6F188BB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AEE15F29-5C36-4B17-839E-43975BB4CE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85D99AF-FC73-42F5-89D8-0E587222C9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F238A8D-C2FC-441A-907F-4B5B864164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25ADA6D-AEE7-4B98-9164-A35763A6F4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A6D3CC92-191D-4C51-9DFC-28A514513E6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42BC182-3E98-492D-9798-1AF9627B2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ADA3486-1E1E-4DD7-916F-FFAFA4C761E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89</c:v>
                </c:pt>
                <c:pt idx="1">
                  <c:v>1.199</c:v>
                </c:pt>
                <c:pt idx="2">
                  <c:v>0.2675</c:v>
                </c:pt>
              </c:numCache>
            </c:numRef>
          </c:xVal>
          <c:yVal>
            <c:numRef>
              <c:f>Sheet1!$B$2:$B$4</c:f>
              <c:numCache>
                <c:formatCode>General</c:formatCode>
                <c:ptCount val="3"/>
                <c:pt idx="0">
                  <c:v>0.4199</c:v>
                </c:pt>
                <c:pt idx="1">
                  <c:v>0.7206</c:v>
                </c:pt>
                <c:pt idx="2">
                  <c:v>0.3388</c:v>
                </c:pt>
              </c:numCache>
            </c:numRef>
          </c:yVal>
          <c:bubbleSize>
            <c:numRef>
              <c:f>Sheet1!$C$2:$C$4</c:f>
              <c:numCache>
                <c:formatCode>General</c:formatCode>
                <c:ptCount val="3"/>
                <c:pt idx="0">
                  <c:v>89489.17039999999</c:v>
                </c:pt>
                <c:pt idx="1">
                  <c:v>297456.80799999996</c:v>
                </c:pt>
                <c:pt idx="2">
                  <c:v>912079.5515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8132458704179"/>
        <c:crossBetween val="midCat"/>
      </c:valAx>
      <c:valAx>
        <c:axId val="1011451359"/>
        <c:scaling>
          <c:orientation val="minMax"/>
          <c:max val="1.2247199999999998"/>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1109666014151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6ACDDC3-98B0-417C-BE0D-DC706CD304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37BC740-33D5-4C4B-8F63-9A914141B1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993779D-538F-4010-A1F7-4CD900E712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ECD1D4E-016D-4019-A190-63D06DBD6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BB668E3D-282B-4481-BDD7-4D3D5160700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CCC1904-726D-4EE0-B141-F14DCB5F1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AD4BAF2-933F-49D5-BE4F-A76F18162C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893862B-6C5D-430F-9E6B-F7A7B0E2D7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92</c:v>
                </c:pt>
                <c:pt idx="1">
                  <c:v>1.1967</c:v>
                </c:pt>
                <c:pt idx="2">
                  <c:v>0.2993</c:v>
                </c:pt>
              </c:numCache>
            </c:numRef>
          </c:xVal>
          <c:yVal>
            <c:numRef>
              <c:f>Sheet1!$B$2:$B$4</c:f>
              <c:numCache>
                <c:formatCode>General</c:formatCode>
                <c:ptCount val="3"/>
                <c:pt idx="0">
                  <c:v>0.4198</c:v>
                </c:pt>
                <c:pt idx="1">
                  <c:v>0.7201</c:v>
                </c:pt>
                <c:pt idx="2">
                  <c:v>0.3686</c:v>
                </c:pt>
              </c:numCache>
            </c:numRef>
          </c:yVal>
          <c:bubbleSize>
            <c:numRef>
              <c:f>Sheet1!$C$2:$C$4</c:f>
              <c:numCache>
                <c:formatCode>General</c:formatCode>
                <c:ptCount val="3"/>
                <c:pt idx="0">
                  <c:v>1046552.1157999999</c:v>
                </c:pt>
                <c:pt idx="1">
                  <c:v>3804955.4074999997</c:v>
                </c:pt>
                <c:pt idx="2">
                  <c:v>11591402.16860001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727141543853"/>
        <c:crossBetween val="midCat"/>
      </c:valAx>
      <c:valAx>
        <c:axId val="1011451359"/>
        <c:scaling>
          <c:orientation val="minMax"/>
          <c:max val="1.2241199999999999"/>
          <c:min val="0.054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534018165397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22C98F0-017C-4E08-A070-93AEC4CB64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423DB3B-5170-4FA4-A6AD-AEC90AFCF2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5CCE128-7BCC-4C7D-8E2B-B2077CE55B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62DF25B-4283-46D2-8BCF-0A07C1D801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1A0263C0-2D54-4C7C-9585-8BB17018D5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6325CF0-1665-4953-BE4C-4056252E13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65C7C66-E0DD-4FFF-AFC6-3588AB53FA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1D9A393-CD88-4986-A83C-167F3380EE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86</c:v>
                </c:pt>
                <c:pt idx="1">
                  <c:v>1.1921</c:v>
                </c:pt>
                <c:pt idx="2">
                  <c:v>0.2814</c:v>
                </c:pt>
              </c:numCache>
            </c:numRef>
          </c:xVal>
          <c:yVal>
            <c:numRef>
              <c:f>Sheet1!$B$2:$B$4</c:f>
              <c:numCache>
                <c:formatCode>General</c:formatCode>
                <c:ptCount val="3"/>
                <c:pt idx="0">
                  <c:v>0.4195</c:v>
                </c:pt>
                <c:pt idx="1">
                  <c:v>0.7195</c:v>
                </c:pt>
                <c:pt idx="2">
                  <c:v>0.3546</c:v>
                </c:pt>
              </c:numCache>
            </c:numRef>
          </c:yVal>
          <c:bubbleSize>
            <c:numRef>
              <c:f>Sheet1!$C$2:$C$4</c:f>
              <c:numCache>
                <c:formatCode>General</c:formatCode>
                <c:ptCount val="3"/>
                <c:pt idx="0">
                  <c:v>78650.09289999999</c:v>
                </c:pt>
                <c:pt idx="1">
                  <c:v>277855.02910000004</c:v>
                </c:pt>
                <c:pt idx="2">
                  <c:v>952941.4383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272525786786"/>
        <c:crossBetween val="midCat"/>
      </c:valAx>
      <c:valAx>
        <c:axId val="1011451359"/>
        <c:scaling>
          <c:orientation val="minMax"/>
          <c:max val="1.2234"/>
          <c:min val="0.04368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8739532775239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BD8A7DA-A83C-4465-8CDD-592BC309E3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40316A6-D862-4BFD-B39E-5ED8F48197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5734FBF-A648-43A3-BCFF-3E1C6F830D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01F1E23-BBAD-45FF-94CD-CAE1AEBB9C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81FB86E-6612-4BE4-8206-F5F22B2611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5CC4AE2-AE68-49E6-850D-846E452603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C5D6233-DDCE-4D01-AA3E-737D6E1087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FD0F638-EFCE-4F8B-BF39-417B107F5C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2.1591</c:v>
                </c:pt>
                <c:pt idx="1">
                  <c:v>1.1965</c:v>
                </c:pt>
                <c:pt idx="2">
                  <c:v>0.2956</c:v>
                </c:pt>
              </c:numCache>
            </c:numRef>
          </c:xVal>
          <c:yVal>
            <c:numRef>
              <c:f>Sheet1!$B$2:$B$4</c:f>
              <c:numCache>
                <c:formatCode>General</c:formatCode>
                <c:ptCount val="3"/>
                <c:pt idx="0">
                  <c:v>0.4198</c:v>
                </c:pt>
                <c:pt idx="1">
                  <c:v>0.7201</c:v>
                </c:pt>
                <c:pt idx="2">
                  <c:v>0.3656</c:v>
                </c:pt>
              </c:numCache>
            </c:numRef>
          </c:yVal>
          <c:bubbleSize>
            <c:numRef>
              <c:f>Sheet1!$C$2:$C$4</c:f>
              <c:numCache>
                <c:formatCode>General</c:formatCode>
                <c:ptCount val="3"/>
                <c:pt idx="0">
                  <c:v>1214691.3791000003</c:v>
                </c:pt>
                <c:pt idx="1">
                  <c:v>4380267.244600002</c:v>
                </c:pt>
                <c:pt idx="2">
                  <c:v>13456423.15850001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61869404677"/>
        <c:crossBetween val="midCat"/>
      </c:valAx>
      <c:valAx>
        <c:axId val="1011451359"/>
        <c:scaling>
          <c:orientation val="minMax"/>
          <c:max val="1.2241199999999999"/>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621548018710897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a:ln w="10160"/>
            </c:spPr>
            <c:extLst>
              <c:ext xmlns:c16="http://schemas.microsoft.com/office/drawing/2014/chart" uri="{C3380CC4-5D6E-409C-BE32-E72D297353CC}">
                <c16:uniqueId val="{0000000B-7D2A-4F1E-BC80-EAAAE9B08A80}"/>
              </c:ext>
            </c:extLst>
          </c:dPt>
          <c:dPt>
            <c:idx val="5"/>
            <c:invertIfNegative val="0"/>
            <c:bubble3D val="0"/>
            <c:spPr>
              <a:solidFill>
                <a:srgbClr val="FF8080"/>
              </a:solidFill>
              <a:ln w="10160"/>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w="10160">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a:ln w="10160"/>
            </c:spPr>
            <c:extLst>
              <c:ext xmlns:c16="http://schemas.microsoft.com/office/drawing/2014/chart" uri="{C3380CC4-5D6E-409C-BE32-E72D297353CC}">
                <c16:uniqueId val="{0000000D-7D2A-4F1E-BC80-EAAAE9B08A80}"/>
              </c:ext>
            </c:extLst>
          </c:dPt>
          <c:dPt>
            <c:idx val="8"/>
            <c:invertIfNegative val="1"/>
            <c:bubble3D val="0"/>
            <c:spPr>
              <a:solidFill>
                <a:srgbClr val="006C6D"/>
              </a:solidFill>
              <a:ln w="10160"/>
            </c:spPr>
            <c:extLst>
              <c:ext xmlns:c16="http://schemas.microsoft.com/office/drawing/2014/chart" uri="{C3380CC4-5D6E-409C-BE32-E72D297353CC}">
                <c16:uniqueId val="{00000011-78D1-41D4-ABFA-320BD44357BD}"/>
              </c:ext>
            </c:extLst>
          </c:dPt>
          <c:dPt>
            <c:idx val="9"/>
            <c:invertIfNegative val="1"/>
            <c:bubble3D val="0"/>
            <c:spPr>
              <a:solidFill>
                <a:srgbClr val="7ECAC4"/>
              </a:solidFill>
              <a:ln w="10160"/>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28BBB45-F693-47D7-9E61-47B0A94DED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17FDF25-04A0-4CA2-A10C-FA49B45DAE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CB7DCDB8-F7F0-4225-A02C-2F8C5A1183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E256001-322D-4700-A013-71F0EFFCB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C424D16-577E-4DFE-8D8A-D23703D0C8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B14B62A-928C-4E66-BDB2-AFF9FB60A6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4FFA447-80D5-4E3F-BA67-AF1370E372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631DAA6-0F16-4F01-A10D-9417B5092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7653</c:v>
                </c:pt>
                <c:pt idx="1">
                  <c:v>0.9755</c:v>
                </c:pt>
                <c:pt idx="2">
                  <c:v>2.1586</c:v>
                </c:pt>
                <c:pt idx="3">
                  <c:v>0.9444</c:v>
                </c:pt>
                <c:pt idx="4">
                  <c:v>0.4494</c:v>
                </c:pt>
                <c:pt idx="5">
                  <c:v>0.4127</c:v>
                </c:pt>
                <c:pt idx="6">
                  <c:v>0.1407</c:v>
                </c:pt>
                <c:pt idx="7">
                  <c:v>1.1413</c:v>
                </c:pt>
                <c:pt idx="8">
                  <c:v>1.2749</c:v>
                </c:pt>
                <c:pt idx="9">
                  <c:v>0.1083</c:v>
                </c:pt>
              </c:numCache>
            </c:numRef>
          </c:xVal>
          <c:yVal>
            <c:numRef>
              <c:f>Sheet1!$B$2:$B$11</c:f>
              <c:numCache>
                <c:formatCode>General</c:formatCode>
                <c:ptCount val="10"/>
                <c:pt idx="0">
                  <c:v>0.4934</c:v>
                </c:pt>
                <c:pt idx="1">
                  <c:v>0.6837</c:v>
                </c:pt>
                <c:pt idx="2">
                  <c:v>0.4195</c:v>
                </c:pt>
                <c:pt idx="3">
                  <c:v>0.4911</c:v>
                </c:pt>
                <c:pt idx="4">
                  <c:v>0.48</c:v>
                </c:pt>
                <c:pt idx="5">
                  <c:v>0.5166</c:v>
                </c:pt>
                <c:pt idx="6">
                  <c:v>0.0104</c:v>
                </c:pt>
                <c:pt idx="7">
                  <c:v>0.7091</c:v>
                </c:pt>
                <c:pt idx="8">
                  <c:v>0.7317</c:v>
                </c:pt>
                <c:pt idx="9">
                  <c:v>-0.0032</c:v>
                </c:pt>
              </c:numCache>
            </c:numRef>
          </c:yVal>
          <c:bubbleSize>
            <c:numRef>
              <c:f>Sheet1!$C$2:$C$11</c:f>
              <c:numCache>
                <c:formatCode>General</c:formatCode>
                <c:ptCount val="10"/>
                <c:pt idx="0">
                  <c:v>129385.6139</c:v>
                </c:pt>
                <c:pt idx="1">
                  <c:v>30082.322399999997</c:v>
                </c:pt>
                <c:pt idx="2">
                  <c:v>78650.09289999999</c:v>
                </c:pt>
                <c:pt idx="3">
                  <c:v>310226.51689999993</c:v>
                </c:pt>
                <c:pt idx="4">
                  <c:v>100468.0599</c:v>
                </c:pt>
                <c:pt idx="5">
                  <c:v>141820.57580000002</c:v>
                </c:pt>
                <c:pt idx="6">
                  <c:v>85078.3402</c:v>
                </c:pt>
                <c:pt idx="7">
                  <c:v>85603.14790000001</c:v>
                </c:pt>
                <c:pt idx="8">
                  <c:v>162101.8536</c:v>
                </c:pt>
                <c:pt idx="9">
                  <c:v>185958.4334000000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596537687895204"/>
        <c:crossBetween val="midCat"/>
      </c:valAx>
      <c:valAx>
        <c:axId val="1011451359"/>
        <c:scaling>
          <c:orientation val="minMax"/>
          <c:max val="1.23804"/>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87603404117893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B497F36-958C-4A7A-8256-78AF3B0B76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302E730-47FF-4190-A81E-809BBF1C7E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D45221E0-E4DB-404E-82C5-2568D4434F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0142911-B151-4391-866B-3CAC4161D3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B487CE4-A14B-40B9-9894-42836BFABF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F6BEC381-8948-492C-A9CD-455500D1A1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BA03DE0-17B5-4EE2-880C-1A808B066E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91D4287-C5A4-41D9-8060-9949E6508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1.1965</c:v>
                </c:pt>
              </c:numCache>
            </c:numRef>
          </c:xVal>
          <c:yVal>
            <c:numRef>
              <c:f>Sheet1!$B$2:$B$2</c:f>
              <c:numCache>
                <c:formatCode>General</c:formatCode>
                <c:ptCount val="1"/>
                <c:pt idx="0">
                  <c:v>0.7201</c:v>
                </c:pt>
              </c:numCache>
            </c:numRef>
          </c:yVal>
          <c:bubbleSize>
            <c:numRef>
              <c:f>Sheet1!$C$2:$C$2</c:f>
              <c:numCache>
                <c:formatCode>General</c:formatCode>
                <c:ptCount val="1"/>
                <c:pt idx="0">
                  <c:v>4380267.244600004</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
        <c:crossBetween val="midCat"/>
      </c:valAx>
      <c:valAx>
        <c:axId val="1011451359"/>
        <c:scaling>
          <c:orientation val="minMax"/>
          <c:max val="1.2241199999999999"/>
          <c:min val="0.336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E6E5E5"/>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E6E5E5"/>
              </a:solidFill>
              <a:ln w="10160"/>
            </c:spPr>
            <c:extLst>
              <c:ext xmlns:c16="http://schemas.microsoft.com/office/drawing/2014/chart" uri="{C3380CC4-5D6E-409C-BE32-E72D297353CC}">
                <c16:uniqueId val="{0000000B-7D2A-4F1E-BC80-EAAAE9B08A80}"/>
              </c:ext>
            </c:extLst>
          </c:dPt>
          <c:dPt>
            <c:idx val="5"/>
            <c:invertIfNegative val="0"/>
            <c:bubble3D val="0"/>
            <c:spPr>
              <a:solidFill>
                <a:srgbClr val="C00000"/>
              </a:solidFill>
              <a:ln w="10160"/>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w="10160">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FF8080"/>
              </a:solidFill>
              <a:ln w="10160"/>
            </c:spPr>
            <c:extLst>
              <c:ext xmlns:c16="http://schemas.microsoft.com/office/drawing/2014/chart" uri="{C3380CC4-5D6E-409C-BE32-E72D297353CC}">
                <c16:uniqueId val="{0000000D-7D2A-4F1E-BC80-EAAAE9B08A80}"/>
              </c:ext>
            </c:extLst>
          </c:dPt>
          <c:dPt>
            <c:idx val="8"/>
            <c:invertIfNegative val="1"/>
            <c:bubble3D val="0"/>
            <c:spPr>
              <a:solidFill>
                <a:srgbClr val="006C6D"/>
              </a:solidFill>
              <a:ln w="10160"/>
            </c:spPr>
            <c:extLst>
              <c:ext xmlns:c16="http://schemas.microsoft.com/office/drawing/2014/chart" uri="{C3380CC4-5D6E-409C-BE32-E72D297353CC}">
                <c16:uniqueId val="{00000011-78D1-41D4-ABFA-320BD44357BD}"/>
              </c:ext>
            </c:extLst>
          </c:dPt>
          <c:dPt>
            <c:idx val="9"/>
            <c:invertIfNegative val="1"/>
            <c:bubble3D val="0"/>
            <c:spPr>
              <a:solidFill>
                <a:srgbClr val="006C6D"/>
              </a:solidFill>
              <a:ln w="10160"/>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07D5CC1-8502-44CE-99A5-30410FF4D7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732AF88-71E8-47FD-8B59-8099846C1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29EE8FC-8BA1-4680-9AAB-78CD13914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FD1C75F-898E-456A-BE08-BE6831BC0D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2A59AB8-5C87-4237-AA63-A05021056C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92EC695-DE82-498B-92FE-52EC8E9114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DEEF7D7-F3D1-4EA6-8278-62D752E960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53894DA-A9E7-457E-9A82-B1C4FD0033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7653</c:v>
                </c:pt>
                <c:pt idx="1">
                  <c:v>0.9758</c:v>
                </c:pt>
                <c:pt idx="2">
                  <c:v>2.1589</c:v>
                </c:pt>
                <c:pt idx="3">
                  <c:v>0.9444</c:v>
                </c:pt>
                <c:pt idx="4">
                  <c:v>0.4494</c:v>
                </c:pt>
                <c:pt idx="5">
                  <c:v>0.4127</c:v>
                </c:pt>
                <c:pt idx="6">
                  <c:v>0.1407</c:v>
                </c:pt>
                <c:pt idx="7">
                  <c:v>1.1412</c:v>
                </c:pt>
                <c:pt idx="8">
                  <c:v>1.2748</c:v>
                </c:pt>
                <c:pt idx="9">
                  <c:v>0.1083</c:v>
                </c:pt>
              </c:numCache>
            </c:numRef>
          </c:xVal>
          <c:yVal>
            <c:numRef>
              <c:f>Sheet1!$B$2:$B$11</c:f>
              <c:numCache>
                <c:formatCode>General</c:formatCode>
                <c:ptCount val="10"/>
                <c:pt idx="0">
                  <c:v>0.4936</c:v>
                </c:pt>
                <c:pt idx="1">
                  <c:v>0.6837</c:v>
                </c:pt>
                <c:pt idx="2">
                  <c:v>0.4199</c:v>
                </c:pt>
                <c:pt idx="3">
                  <c:v>0.4909</c:v>
                </c:pt>
                <c:pt idx="4">
                  <c:v>0.4789</c:v>
                </c:pt>
                <c:pt idx="5">
                  <c:v>0.5158</c:v>
                </c:pt>
                <c:pt idx="6">
                  <c:v>0.012</c:v>
                </c:pt>
                <c:pt idx="7">
                  <c:v>0.7091</c:v>
                </c:pt>
                <c:pt idx="8">
                  <c:v>0.7318</c:v>
                </c:pt>
                <c:pt idx="9">
                  <c:v>-0.0022</c:v>
                </c:pt>
              </c:numCache>
            </c:numRef>
          </c:yVal>
          <c:bubbleSize>
            <c:numRef>
              <c:f>Sheet1!$C$2:$C$11</c:f>
              <c:numCache>
                <c:formatCode>General</c:formatCode>
                <c:ptCount val="10"/>
                <c:pt idx="0">
                  <c:v>119428.28789999997</c:v>
                </c:pt>
                <c:pt idx="1">
                  <c:v>28301.748799999998</c:v>
                </c:pt>
                <c:pt idx="2">
                  <c:v>89489.17039999999</c:v>
                </c:pt>
                <c:pt idx="3">
                  <c:v>272475.62769999995</c:v>
                </c:pt>
                <c:pt idx="4">
                  <c:v>106130.81490000003</c:v>
                </c:pt>
                <c:pt idx="5">
                  <c:v>125001.96189999998</c:v>
                </c:pt>
                <c:pt idx="6">
                  <c:v>114348.9244</c:v>
                </c:pt>
                <c:pt idx="7">
                  <c:v>86297.40030000001</c:v>
                </c:pt>
                <c:pt idx="8">
                  <c:v>182797.47649999996</c:v>
                </c:pt>
                <c:pt idx="9">
                  <c:v>174687.437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3179898299358027"/>
        <c:crossBetween val="midCat"/>
      </c:valAx>
      <c:valAx>
        <c:axId val="1011451359"/>
        <c:scaling>
          <c:orientation val="minMax"/>
          <c:max val="1.23816"/>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797056292307247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C00000"/>
              </a:solidFill>
              <a:ln w="10160"/>
            </c:spPr>
            <c:extLst>
              <c:ext xmlns:c16="http://schemas.microsoft.com/office/drawing/2014/chart" uri="{C3380CC4-5D6E-409C-BE32-E72D297353CC}">
                <c16:uniqueId val="{0000000B-7D2A-4F1E-BC80-EAAAE9B08A80}"/>
              </c:ext>
            </c:extLst>
          </c:dPt>
          <c:dPt>
            <c:idx val="5"/>
            <c:invertIfNegative val="0"/>
            <c:bubble3D val="0"/>
            <c:spPr>
              <a:solidFill>
                <a:srgbClr val="FF8080"/>
              </a:solidFill>
              <a:ln w="10160"/>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w="10160">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7ECAC4"/>
              </a:solidFill>
              <a:ln w="10160"/>
            </c:spPr>
            <c:extLst>
              <c:ext xmlns:c16="http://schemas.microsoft.com/office/drawing/2014/chart" uri="{C3380CC4-5D6E-409C-BE32-E72D297353CC}">
                <c16:uniqueId val="{0000000D-7D2A-4F1E-BC80-EAAAE9B08A80}"/>
              </c:ext>
            </c:extLst>
          </c:dPt>
          <c:dPt>
            <c:idx val="8"/>
            <c:invertIfNegative val="1"/>
            <c:bubble3D val="0"/>
            <c:spPr>
              <a:solidFill>
                <a:srgbClr val="C00000"/>
              </a:solidFill>
              <a:ln w="10160"/>
            </c:spPr>
            <c:extLst>
              <c:ext xmlns:c16="http://schemas.microsoft.com/office/drawing/2014/chart" uri="{C3380CC4-5D6E-409C-BE32-E72D297353CC}">
                <c16:uniqueId val="{00000011-78D1-41D4-ABFA-320BD44357BD}"/>
              </c:ext>
            </c:extLst>
          </c:dPt>
          <c:dPt>
            <c:idx val="9"/>
            <c:invertIfNegative val="1"/>
            <c:bubble3D val="0"/>
            <c:spPr>
              <a:solidFill>
                <a:srgbClr val="006C6D"/>
              </a:solidFill>
              <a:ln w="10160"/>
            </c:spPr>
            <c:extLst>
              <c:ext xmlns:c16="http://schemas.microsoft.com/office/drawing/2014/chart" uri="{C3380CC4-5D6E-409C-BE32-E72D297353CC}">
                <c16:uniqueId val="{00000013-78D1-41D4-ABFA-320BD44357BD}"/>
              </c:ext>
            </c:extLst>
          </c:dPt>
          <c:dPt>
            <c:idx val="10"/>
            <c:invertIfNegative val="1"/>
            <c:bubble3D val="0"/>
            <c:spPr>
              <a:solidFill>
                <a:srgbClr val="006C6D"/>
              </a:solidFill>
              <a:ln w="10160"/>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3ED038C-E84D-4915-B959-7EB2595B94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FD35FED-D9A3-46F0-B85E-1A10BD64AE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114B641-A8CF-4881-A535-A3F406296E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6DF82D3-1C49-41B5-B06D-14486C0345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275BBC3-B51B-46FF-B199-1BBD31634F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85D8B95-843B-48AE-9651-D564D29A64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D9DD2F4-BFE4-443C-BD36-F52EE6926F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BDAD69E-92BA-4012-B1B0-7EF25650C6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2</c:f>
              <c:numCache>
                <c:formatCode>General</c:formatCode>
                <c:ptCount val="11"/>
                <c:pt idx="0">
                  <c:v>0.7653</c:v>
                </c:pt>
                <c:pt idx="1">
                  <c:v>0.9761</c:v>
                </c:pt>
                <c:pt idx="2">
                  <c:v>2.1591</c:v>
                </c:pt>
                <c:pt idx="3">
                  <c:v>0.9444</c:v>
                </c:pt>
                <c:pt idx="4">
                  <c:v>0.916</c:v>
                </c:pt>
                <c:pt idx="5">
                  <c:v>0.4494</c:v>
                </c:pt>
                <c:pt idx="6">
                  <c:v>0.4128</c:v>
                </c:pt>
                <c:pt idx="7">
                  <c:v>0.1407</c:v>
                </c:pt>
                <c:pt idx="8">
                  <c:v>1.1417</c:v>
                </c:pt>
                <c:pt idx="9">
                  <c:v>1.275</c:v>
                </c:pt>
                <c:pt idx="10">
                  <c:v>0.1083</c:v>
                </c:pt>
              </c:numCache>
            </c:numRef>
          </c:xVal>
          <c:yVal>
            <c:numRef>
              <c:f>Sheet1!$B$2:$B$12</c:f>
              <c:numCache>
                <c:formatCode>General</c:formatCode>
                <c:ptCount val="11"/>
                <c:pt idx="0">
                  <c:v>0.4934</c:v>
                </c:pt>
                <c:pt idx="1">
                  <c:v>0.6837</c:v>
                </c:pt>
                <c:pt idx="2">
                  <c:v>0.4198</c:v>
                </c:pt>
                <c:pt idx="3">
                  <c:v>0.4911</c:v>
                </c:pt>
                <c:pt idx="4">
                  <c:v>0.7386</c:v>
                </c:pt>
                <c:pt idx="5">
                  <c:v>0.4797</c:v>
                </c:pt>
                <c:pt idx="6">
                  <c:v>0.5165</c:v>
                </c:pt>
                <c:pt idx="7">
                  <c:v>0.0105</c:v>
                </c:pt>
                <c:pt idx="8">
                  <c:v>0.7091</c:v>
                </c:pt>
                <c:pt idx="9">
                  <c:v>0.7317</c:v>
                </c:pt>
                <c:pt idx="10">
                  <c:v>-0.0026</c:v>
                </c:pt>
              </c:numCache>
            </c:numRef>
          </c:yVal>
          <c:bubbleSize>
            <c:numRef>
              <c:f>Sheet1!$C$2:$C$12</c:f>
              <c:numCache>
                <c:formatCode>General</c:formatCode>
                <c:ptCount val="11"/>
                <c:pt idx="0">
                  <c:v>1798622.3696</c:v>
                </c:pt>
                <c:pt idx="1">
                  <c:v>423999.0885</c:v>
                </c:pt>
                <c:pt idx="2">
                  <c:v>1214691.3791000003</c:v>
                </c:pt>
                <c:pt idx="3">
                  <c:v>4518773.504000001</c:v>
                </c:pt>
                <c:pt idx="4">
                  <c:v>1094.5674000000001</c:v>
                </c:pt>
                <c:pt idx="5">
                  <c:v>1614221.3449</c:v>
                </c:pt>
                <c:pt idx="6">
                  <c:v>1997336.7136000001</c:v>
                </c:pt>
                <c:pt idx="7">
                  <c:v>1228819.4014000003</c:v>
                </c:pt>
                <c:pt idx="8">
                  <c:v>1343734.6551</c:v>
                </c:pt>
                <c:pt idx="9">
                  <c:v>2611438.9335999996</c:v>
                </c:pt>
                <c:pt idx="10">
                  <c:v>2298580.127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998090982496"/>
        <c:crossBetween val="midCat"/>
      </c:valAx>
      <c:valAx>
        <c:axId val="1011451359"/>
        <c:scaling>
          <c:orientation val="minMax"/>
          <c:max val="1.2463199999999999"/>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448526485009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FF8080"/>
              </a:solidFill>
              <a:ln w="10160"/>
            </c:spPr>
            <c:extLst>
              <c:ext xmlns:c16="http://schemas.microsoft.com/office/drawing/2014/chart" uri="{C3380CC4-5D6E-409C-BE32-E72D297353CC}">
                <c16:uniqueId val="{0000000B-7D2A-4F1E-BC80-EAAAE9B08A80}"/>
              </c:ext>
            </c:extLst>
          </c:dPt>
          <c:dPt>
            <c:idx val="5"/>
            <c:invertIfNegative val="0"/>
            <c:bubble3D val="0"/>
            <c:spPr>
              <a:solidFill>
                <a:srgbClr val="FF8080"/>
              </a:solidFill>
              <a:ln w="10160"/>
            </c:spPr>
            <c:extLst>
              <c:ext xmlns:c16="http://schemas.microsoft.com/office/drawing/2014/chart" uri="{C3380CC4-5D6E-409C-BE32-E72D297353CC}">
                <c16:uniqueId val="{0000000C-7D2A-4F1E-BC80-EAAAE9B08A80}"/>
              </c:ext>
            </c:extLst>
          </c:dPt>
          <c:dPt>
            <c:idx val="6"/>
            <c:invertIfNegative val="0"/>
            <c:bubble3D val="0"/>
            <c:spPr>
              <a:solidFill>
                <a:srgbClr val="7ECAC4"/>
              </a:solidFill>
              <a:ln w="10160">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spPr>
              <a:solidFill>
                <a:srgbClr val="C00000"/>
              </a:solidFill>
              <a:ln w="10160"/>
            </c:spPr>
            <c:extLst>
              <c:ext xmlns:c16="http://schemas.microsoft.com/office/drawing/2014/chart" uri="{C3380CC4-5D6E-409C-BE32-E72D297353CC}">
                <c16:uniqueId val="{0000000D-7D2A-4F1E-BC80-EAAAE9B08A80}"/>
              </c:ext>
            </c:extLst>
          </c:dPt>
          <c:dPt>
            <c:idx val="8"/>
            <c:invertIfNegative val="1"/>
            <c:bubble3D val="0"/>
            <c:spPr>
              <a:solidFill>
                <a:srgbClr val="006C6D"/>
              </a:solidFill>
              <a:ln w="10160"/>
            </c:spPr>
            <c:extLst>
              <c:ext xmlns:c16="http://schemas.microsoft.com/office/drawing/2014/chart" uri="{C3380CC4-5D6E-409C-BE32-E72D297353CC}">
                <c16:uniqueId val="{00000011-78D1-41D4-ABFA-320BD44357BD}"/>
              </c:ext>
            </c:extLst>
          </c:dPt>
          <c:dPt>
            <c:idx val="9"/>
            <c:invertIfNegative val="1"/>
            <c:bubble3D val="0"/>
            <c:spPr>
              <a:solidFill>
                <a:srgbClr val="006C6D"/>
              </a:solidFill>
              <a:ln w="10160"/>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F5BC108-D6AA-4765-AE27-BB4C260F4D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1C9E25F-6393-4A5B-AAF8-3E4A6AE7FE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CD5CFE4-A64D-4027-9F80-3E763441D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6E6BA72-EE22-4F8A-9633-10FF895630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898E5C91-BDE8-4CCA-8477-75D5F466C5F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59E7D97-C145-43DD-97A8-ABAA092A54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49C70A1-C65F-4C7F-BA75-384E883034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4D50BFF-4740-4251-92EE-1E970F471C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11</c:f>
              <c:numCache>
                <c:formatCode>General</c:formatCode>
                <c:ptCount val="10"/>
                <c:pt idx="0">
                  <c:v>0.7653</c:v>
                </c:pt>
                <c:pt idx="1">
                  <c:v>0.9762</c:v>
                </c:pt>
                <c:pt idx="2">
                  <c:v>2.1592</c:v>
                </c:pt>
                <c:pt idx="3">
                  <c:v>0.9444</c:v>
                </c:pt>
                <c:pt idx="4">
                  <c:v>0.4494</c:v>
                </c:pt>
                <c:pt idx="5">
                  <c:v>0.4128</c:v>
                </c:pt>
                <c:pt idx="6">
                  <c:v>0.1407</c:v>
                </c:pt>
                <c:pt idx="7">
                  <c:v>1.1418</c:v>
                </c:pt>
                <c:pt idx="8">
                  <c:v>1.275</c:v>
                </c:pt>
                <c:pt idx="9">
                  <c:v>0.1083</c:v>
                </c:pt>
              </c:numCache>
            </c:numRef>
          </c:xVal>
          <c:yVal>
            <c:numRef>
              <c:f>Sheet1!$B$2:$B$11</c:f>
              <c:numCache>
                <c:formatCode>General</c:formatCode>
                <c:ptCount val="10"/>
                <c:pt idx="0">
                  <c:v>0.4934</c:v>
                </c:pt>
                <c:pt idx="1">
                  <c:v>0.6837</c:v>
                </c:pt>
                <c:pt idx="2">
                  <c:v>0.4198</c:v>
                </c:pt>
                <c:pt idx="3">
                  <c:v>0.4911</c:v>
                </c:pt>
                <c:pt idx="4">
                  <c:v>0.4798</c:v>
                </c:pt>
                <c:pt idx="5">
                  <c:v>0.5166</c:v>
                </c:pt>
                <c:pt idx="6">
                  <c:v>0.0104</c:v>
                </c:pt>
                <c:pt idx="7">
                  <c:v>0.7091</c:v>
                </c:pt>
                <c:pt idx="8">
                  <c:v>0.7317</c:v>
                </c:pt>
                <c:pt idx="9">
                  <c:v>-0.0026</c:v>
                </c:pt>
              </c:numCache>
            </c:numRef>
          </c:yVal>
          <c:bubbleSize>
            <c:numRef>
              <c:f>Sheet1!$C$2:$C$11</c:f>
              <c:numCache>
                <c:formatCode>General</c:formatCode>
                <c:ptCount val="10"/>
                <c:pt idx="0">
                  <c:v>1549808.4677999998</c:v>
                </c:pt>
                <c:pt idx="1">
                  <c:v>365615.01729999995</c:v>
                </c:pt>
                <c:pt idx="2">
                  <c:v>1046552.1157999999</c:v>
                </c:pt>
                <c:pt idx="3">
                  <c:v>3936071.3593999995</c:v>
                </c:pt>
                <c:pt idx="4">
                  <c:v>1407622.4701</c:v>
                </c:pt>
                <c:pt idx="5">
                  <c:v>1730514.1759000001</c:v>
                </c:pt>
                <c:pt idx="6">
                  <c:v>1029392.1368000001</c:v>
                </c:pt>
                <c:pt idx="7">
                  <c:v>1171834.1069000002</c:v>
                </c:pt>
                <c:pt idx="8">
                  <c:v>2266539.6034999997</c:v>
                </c:pt>
                <c:pt idx="9">
                  <c:v>1937934.2558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31960185684373"/>
        <c:crossBetween val="midCat"/>
      </c:valAx>
      <c:valAx>
        <c:axId val="1011451359"/>
        <c:scaling>
          <c:orientation val="minMax"/>
          <c:max val="1.23804"/>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817997309766108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0C179DE-BC3D-4276-A598-79E6FCDC5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97CDCD1-AFA0-41FC-9AFC-5AFB0E13B9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0B87EBE1-8181-48CA-9A09-ADA4AAF24A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35F1A9E-6119-4081-AC77-8330E38ADC4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22A5024-666E-44F0-84B9-16B0267012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2656774-029B-4B19-BED9-96304931FC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3A835CBC-8B50-41B8-97D1-AA5C499FB3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78B7828-47F6-4567-869A-614B258318D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55</c:v>
                </c:pt>
                <c:pt idx="1">
                  <c:v>2.1586</c:v>
                </c:pt>
                <c:pt idx="2">
                  <c:v>1.1413</c:v>
                </c:pt>
                <c:pt idx="3">
                  <c:v>1.2749</c:v>
                </c:pt>
              </c:numCache>
            </c:numRef>
          </c:xVal>
          <c:yVal>
            <c:numRef>
              <c:f>Sheet1!$B$2:$B$5</c:f>
              <c:numCache>
                <c:formatCode>General</c:formatCode>
                <c:ptCount val="4"/>
                <c:pt idx="0">
                  <c:v>0.6837</c:v>
                </c:pt>
                <c:pt idx="1">
                  <c:v>0.4195</c:v>
                </c:pt>
                <c:pt idx="2">
                  <c:v>0.7091</c:v>
                </c:pt>
                <c:pt idx="3">
                  <c:v>0.7317</c:v>
                </c:pt>
              </c:numCache>
            </c:numRef>
          </c:yVal>
          <c:bubbleSize>
            <c:numRef>
              <c:f>Sheet1!$C$2:$C$5</c:f>
              <c:numCache>
                <c:formatCode>General</c:formatCode>
                <c:ptCount val="4"/>
                <c:pt idx="0">
                  <c:v>30082.322399999997</c:v>
                </c:pt>
                <c:pt idx="1">
                  <c:v>78650.09289999999</c:v>
                </c:pt>
                <c:pt idx="2">
                  <c:v>85603.14790000001</c:v>
                </c:pt>
                <c:pt idx="3">
                  <c:v>162101.853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33324092125449"/>
        <c:crossBetween val="midCat"/>
      </c:valAx>
      <c:valAx>
        <c:axId val="1011451359"/>
        <c:scaling>
          <c:orientation val="minMax"/>
          <c:max val="1.23804"/>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539475816473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006C6D"/>
              </a:solidFill>
              <a:ln w="10160"/>
            </c:spPr>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2748CAA8-1D25-4CD2-9866-3C21357DB8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DAA1563C-D2D0-48A1-9D80-FDE47F25CD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EFF9561-C9D4-440C-B4F1-A50DEC3285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53553EF-E643-4CF3-939B-9ECFDA9FF0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7B234CF-F0CC-410C-84C3-B09AC1D1A1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B1E65E7-C550-47BC-B70E-51B9D4858A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1FE7E2A4-F8EF-49C9-B4F1-C417C6B162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5E07682C-7851-4DAA-BC49-1BCC09139E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0.9761</c:v>
                </c:pt>
                <c:pt idx="1">
                  <c:v>2.1591</c:v>
                </c:pt>
                <c:pt idx="2">
                  <c:v>0.916</c:v>
                </c:pt>
                <c:pt idx="3">
                  <c:v>1.1417</c:v>
                </c:pt>
                <c:pt idx="4">
                  <c:v>1.275</c:v>
                </c:pt>
              </c:numCache>
            </c:numRef>
          </c:xVal>
          <c:yVal>
            <c:numRef>
              <c:f>Sheet1!$B$2:$B$6</c:f>
              <c:numCache>
                <c:formatCode>General</c:formatCode>
                <c:ptCount val="5"/>
                <c:pt idx="0">
                  <c:v>0.6837</c:v>
                </c:pt>
                <c:pt idx="1">
                  <c:v>0.4198</c:v>
                </c:pt>
                <c:pt idx="2">
                  <c:v>0.7386</c:v>
                </c:pt>
                <c:pt idx="3">
                  <c:v>0.7091</c:v>
                </c:pt>
                <c:pt idx="4">
                  <c:v>0.7317</c:v>
                </c:pt>
              </c:numCache>
            </c:numRef>
          </c:yVal>
          <c:bubbleSize>
            <c:numRef>
              <c:f>Sheet1!$C$2:$C$6</c:f>
              <c:numCache>
                <c:formatCode>General</c:formatCode>
                <c:ptCount val="5"/>
                <c:pt idx="0">
                  <c:v>423999.0885</c:v>
                </c:pt>
                <c:pt idx="1">
                  <c:v>1214691.3791000003</c:v>
                </c:pt>
                <c:pt idx="2">
                  <c:v>1094.5674000000001</c:v>
                </c:pt>
                <c:pt idx="3">
                  <c:v>1343734.6551</c:v>
                </c:pt>
                <c:pt idx="4">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9210500610623"/>
        <c:crossBetween val="midCat"/>
      </c:valAx>
      <c:valAx>
        <c:axId val="1011451359"/>
        <c:scaling>
          <c:orientation val="minMax"/>
          <c:max val="1.2463199999999999"/>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2206115919507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DCE6CB7-13DE-47CF-99CE-F1E9855711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6E51407-456C-47A4-A308-9967F3500F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E8DB229-1B39-43B1-9729-BA50379DB2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587A808-B6F6-4258-AA57-BC363E4EF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A6D773E-1DFF-41D9-9BEF-544D6F9BB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6A5119C-1810-422B-BEEC-ACF8128DEC5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C24CCAE-D76B-4648-AF5E-9C9C5B03DD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045836C8-A00D-4507-A04B-EF9F08B1CC2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58</c:v>
                </c:pt>
                <c:pt idx="1">
                  <c:v>2.1589</c:v>
                </c:pt>
                <c:pt idx="2">
                  <c:v>1.1412</c:v>
                </c:pt>
                <c:pt idx="3">
                  <c:v>1.2748</c:v>
                </c:pt>
              </c:numCache>
            </c:numRef>
          </c:xVal>
          <c:yVal>
            <c:numRef>
              <c:f>Sheet1!$B$2:$B$5</c:f>
              <c:numCache>
                <c:formatCode>General</c:formatCode>
                <c:ptCount val="4"/>
                <c:pt idx="0">
                  <c:v>0.6837</c:v>
                </c:pt>
                <c:pt idx="1">
                  <c:v>0.4199</c:v>
                </c:pt>
                <c:pt idx="2">
                  <c:v>0.7091</c:v>
                </c:pt>
                <c:pt idx="3">
                  <c:v>0.7318</c:v>
                </c:pt>
              </c:numCache>
            </c:numRef>
          </c:yVal>
          <c:bubbleSize>
            <c:numRef>
              <c:f>Sheet1!$C$2:$C$5</c:f>
              <c:numCache>
                <c:formatCode>General</c:formatCode>
                <c:ptCount val="4"/>
                <c:pt idx="0">
                  <c:v>28301.748799999998</c:v>
                </c:pt>
                <c:pt idx="1">
                  <c:v>89489.17039999999</c:v>
                </c:pt>
                <c:pt idx="2">
                  <c:v>86297.40030000001</c:v>
                </c:pt>
                <c:pt idx="3">
                  <c:v>182797.4764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10734970506644"/>
        <c:crossBetween val="midCat"/>
      </c:valAx>
      <c:valAx>
        <c:axId val="1011451359"/>
        <c:scaling>
          <c:orientation val="minMax"/>
          <c:max val="1.23816"/>
          <c:min val="0.0959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27624995362093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6D17B70F-6B72-4DBD-A1DB-6189B6D2B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81914DDE-4F36-403D-9641-CD820AEE80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61F3337-D033-40D8-8403-11262B2DB4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63D4D90-BFD5-477E-BA8E-7583BACD3A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3BE17CDB-0EEE-47DA-ABDD-1B1BBA9AC7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4B5FEB1B-4166-403C-9378-987B5F792E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001A6130-A16C-466F-9846-33FB0A5DCE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471EFAD-6BE1-4174-A126-73EC468B87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62</c:v>
                </c:pt>
                <c:pt idx="1">
                  <c:v>2.1592</c:v>
                </c:pt>
                <c:pt idx="2">
                  <c:v>1.1418</c:v>
                </c:pt>
                <c:pt idx="3">
                  <c:v>1.275</c:v>
                </c:pt>
              </c:numCache>
            </c:numRef>
          </c:xVal>
          <c:yVal>
            <c:numRef>
              <c:f>Sheet1!$B$2:$B$5</c:f>
              <c:numCache>
                <c:formatCode>General</c:formatCode>
                <c:ptCount val="4"/>
                <c:pt idx="0">
                  <c:v>0.6837</c:v>
                </c:pt>
                <c:pt idx="1">
                  <c:v>0.4198</c:v>
                </c:pt>
                <c:pt idx="2">
                  <c:v>0.7091</c:v>
                </c:pt>
                <c:pt idx="3">
                  <c:v>0.7317</c:v>
                </c:pt>
              </c:numCache>
            </c:numRef>
          </c:yVal>
          <c:bubbleSize>
            <c:numRef>
              <c:f>Sheet1!$C$2:$C$5</c:f>
              <c:numCache>
                <c:formatCode>General</c:formatCode>
                <c:ptCount val="4"/>
                <c:pt idx="0">
                  <c:v>365615.01729999995</c:v>
                </c:pt>
                <c:pt idx="1">
                  <c:v>1046552.1157999999</c:v>
                </c:pt>
                <c:pt idx="2">
                  <c:v>1171834.1069000002</c:v>
                </c:pt>
                <c:pt idx="3">
                  <c:v>2266539.6034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53265421698722"/>
        <c:crossBetween val="midCat"/>
      </c:valAx>
      <c:valAx>
        <c:axId val="1011451359"/>
        <c:scaling>
          <c:orientation val="minMax"/>
          <c:max val="1.23804"/>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411072931220961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a:ln w="10160"/>
            </c:spPr>
            <c:extLst>
              <c:ext xmlns:c16="http://schemas.microsoft.com/office/drawing/2014/chart" uri="{C3380CC4-5D6E-409C-BE32-E72D297353CC}">
                <c16:uniqueId val="{0000000B-7D2A-4F1E-BC80-EAAAE9B08A80}"/>
              </c:ext>
            </c:extLst>
          </c:dPt>
          <c:dPt>
            <c:idx val="5"/>
            <c:invertIfNegative val="0"/>
            <c:bubble3D val="0"/>
            <c:spPr>
              <a:solidFill>
                <a:srgbClr val="7ECAC4"/>
              </a:solidFill>
              <a:ln w="10160"/>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BC5A0030-A451-4799-89EE-66DDA9D89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2DE969AE-8F42-4631-87DD-A06F7BAF6D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2DB947F-C548-46BE-B9B5-432EA1961A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3EFB747-5DB5-4AB5-AE9E-54BB221EB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04C905D-6463-4B73-9438-B06E89ADA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9A5FF13-60A0-4ECE-A85C-0E2D231AC5F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2BEA392A-0BED-4E53-A819-1B3E354D1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73D2760-15F2-497E-A625-EBFA79B471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3</c:v>
                </c:pt>
                <c:pt idx="1">
                  <c:v>0.9444</c:v>
                </c:pt>
                <c:pt idx="2">
                  <c:v>0.4494</c:v>
                </c:pt>
                <c:pt idx="3">
                  <c:v>0.4127</c:v>
                </c:pt>
                <c:pt idx="4">
                  <c:v>0.1407</c:v>
                </c:pt>
                <c:pt idx="5">
                  <c:v>0.1083</c:v>
                </c:pt>
              </c:numCache>
            </c:numRef>
          </c:xVal>
          <c:yVal>
            <c:numRef>
              <c:f>Sheet1!$B$2:$B$7</c:f>
              <c:numCache>
                <c:formatCode>General</c:formatCode>
                <c:ptCount val="6"/>
                <c:pt idx="0">
                  <c:v>0.4934</c:v>
                </c:pt>
                <c:pt idx="1">
                  <c:v>0.4911</c:v>
                </c:pt>
                <c:pt idx="2">
                  <c:v>0.48</c:v>
                </c:pt>
                <c:pt idx="3">
                  <c:v>0.5166</c:v>
                </c:pt>
                <c:pt idx="4">
                  <c:v>0.0104</c:v>
                </c:pt>
                <c:pt idx="5">
                  <c:v>-0.0032</c:v>
                </c:pt>
              </c:numCache>
            </c:numRef>
          </c:yVal>
          <c:bubbleSize>
            <c:numRef>
              <c:f>Sheet1!$C$2:$C$7</c:f>
              <c:numCache>
                <c:formatCode>General</c:formatCode>
                <c:ptCount val="6"/>
                <c:pt idx="0">
                  <c:v>129385.6139</c:v>
                </c:pt>
                <c:pt idx="1">
                  <c:v>310226.51689999993</c:v>
                </c:pt>
                <c:pt idx="2">
                  <c:v>100468.0599</c:v>
                </c:pt>
                <c:pt idx="3">
                  <c:v>141820.57580000002</c:v>
                </c:pt>
                <c:pt idx="4">
                  <c:v>85078.3402</c:v>
                </c:pt>
                <c:pt idx="5">
                  <c:v>185958.4334000000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546612617169682"/>
        <c:crossBetween val="midCat"/>
      </c:valAx>
      <c:valAx>
        <c:axId val="1011451359"/>
        <c:scaling>
          <c:orientation val="minMax"/>
          <c:max val="0.9799199999999999"/>
          <c:min val="-0.242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53851883490417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a:ln w="10160"/>
            </c:spPr>
            <c:extLst>
              <c:ext xmlns:c16="http://schemas.microsoft.com/office/drawing/2014/chart" uri="{C3380CC4-5D6E-409C-BE32-E72D297353CC}">
                <c16:uniqueId val="{0000000B-7D2A-4F1E-BC80-EAAAE9B08A80}"/>
              </c:ext>
            </c:extLst>
          </c:dPt>
          <c:dPt>
            <c:idx val="5"/>
            <c:invertIfNegative val="0"/>
            <c:bubble3D val="0"/>
            <c:spPr>
              <a:solidFill>
                <a:srgbClr val="006C6D"/>
              </a:solidFill>
              <a:ln w="10160"/>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D2135F4F-8C27-4303-B67D-BF43A1928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C1B82DC-FA1C-4170-ADDA-F391E1172F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00A0E99-EF49-40E7-B763-6873882322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5591A5E-76DB-4BC0-91FB-894290C345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6F96EE2-85F1-409B-90F6-D066597D8E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5D0A043-DA27-4C01-B429-0A3AA6435E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44C861F3-8C8E-4B84-A34A-5A731FA076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5E96839-076C-4272-9579-7D7EAF7923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3</c:v>
                </c:pt>
                <c:pt idx="1">
                  <c:v>0.9444</c:v>
                </c:pt>
                <c:pt idx="2">
                  <c:v>0.4494</c:v>
                </c:pt>
                <c:pt idx="3">
                  <c:v>0.4128</c:v>
                </c:pt>
                <c:pt idx="4">
                  <c:v>0.1407</c:v>
                </c:pt>
                <c:pt idx="5">
                  <c:v>0.1083</c:v>
                </c:pt>
              </c:numCache>
            </c:numRef>
          </c:xVal>
          <c:yVal>
            <c:numRef>
              <c:f>Sheet1!$B$2:$B$7</c:f>
              <c:numCache>
                <c:formatCode>General</c:formatCode>
                <c:ptCount val="6"/>
                <c:pt idx="0">
                  <c:v>0.4934</c:v>
                </c:pt>
                <c:pt idx="1">
                  <c:v>0.4911</c:v>
                </c:pt>
                <c:pt idx="2">
                  <c:v>0.4797</c:v>
                </c:pt>
                <c:pt idx="3">
                  <c:v>0.5165</c:v>
                </c:pt>
                <c:pt idx="4">
                  <c:v>0.0105</c:v>
                </c:pt>
                <c:pt idx="5">
                  <c:v>-0.0026</c:v>
                </c:pt>
              </c:numCache>
            </c:numRef>
          </c:yVal>
          <c:bubbleSize>
            <c:numRef>
              <c:f>Sheet1!$C$2:$C$7</c:f>
              <c:numCache>
                <c:formatCode>General</c:formatCode>
                <c:ptCount val="6"/>
                <c:pt idx="0">
                  <c:v>1798622.3696</c:v>
                </c:pt>
                <c:pt idx="1">
                  <c:v>4518773.504000001</c:v>
                </c:pt>
                <c:pt idx="2">
                  <c:v>1614221.3449</c:v>
                </c:pt>
                <c:pt idx="3">
                  <c:v>1997336.7136000001</c:v>
                </c:pt>
                <c:pt idx="4">
                  <c:v>1228819.4014000003</c:v>
                </c:pt>
                <c:pt idx="5">
                  <c:v>2298580.1270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958164433314"/>
        <c:crossBetween val="midCat"/>
      </c:valAx>
      <c:valAx>
        <c:axId val="1011451359"/>
        <c:scaling>
          <c:orientation val="minMax"/>
          <c:max val="0.9798"/>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59615143353048"/>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E6E5E5"/>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a:ln w="10160"/>
            </c:spPr>
            <c:extLst>
              <c:ext xmlns:c16="http://schemas.microsoft.com/office/drawing/2014/chart" uri="{C3380CC4-5D6E-409C-BE32-E72D297353CC}">
                <c16:uniqueId val="{0000000B-7D2A-4F1E-BC80-EAAAE9B08A80}"/>
              </c:ext>
            </c:extLst>
          </c:dPt>
          <c:dPt>
            <c:idx val="5"/>
            <c:invertIfNegative val="0"/>
            <c:bubble3D val="0"/>
            <c:spPr>
              <a:solidFill>
                <a:srgbClr val="006C6D"/>
              </a:solidFill>
              <a:ln w="10160"/>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4329899-B2E5-4853-B567-F04344EFE6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31B20CD6-42B9-4C09-95C7-25D8476DD4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3E5F681-BCE1-41C9-BFCA-05CC7FFD05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37CA4B7-83E5-4574-A438-98F0199A58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E27FBB-600E-4628-9C3E-5316D40F6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D4EEE08B-BF02-4D36-9575-C847F2C2A1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8FE8B5A-848C-4B2B-9AFE-FC82084676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A175DBB8-F55B-4740-A1F5-FDECBC72CE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3</c:v>
                </c:pt>
                <c:pt idx="1">
                  <c:v>0.9444</c:v>
                </c:pt>
                <c:pt idx="2">
                  <c:v>0.4494</c:v>
                </c:pt>
                <c:pt idx="3">
                  <c:v>0.4127</c:v>
                </c:pt>
                <c:pt idx="4">
                  <c:v>0.1407</c:v>
                </c:pt>
                <c:pt idx="5">
                  <c:v>0.1083</c:v>
                </c:pt>
              </c:numCache>
            </c:numRef>
          </c:xVal>
          <c:yVal>
            <c:numRef>
              <c:f>Sheet1!$B$2:$B$7</c:f>
              <c:numCache>
                <c:formatCode>General</c:formatCode>
                <c:ptCount val="6"/>
                <c:pt idx="0">
                  <c:v>0.4936</c:v>
                </c:pt>
                <c:pt idx="1">
                  <c:v>0.4909</c:v>
                </c:pt>
                <c:pt idx="2">
                  <c:v>0.4789</c:v>
                </c:pt>
                <c:pt idx="3">
                  <c:v>0.5158</c:v>
                </c:pt>
                <c:pt idx="4">
                  <c:v>0.012</c:v>
                </c:pt>
                <c:pt idx="5">
                  <c:v>-0.0022</c:v>
                </c:pt>
              </c:numCache>
            </c:numRef>
          </c:yVal>
          <c:bubbleSize>
            <c:numRef>
              <c:f>Sheet1!$C$2:$C$7</c:f>
              <c:numCache>
                <c:formatCode>General</c:formatCode>
                <c:ptCount val="6"/>
                <c:pt idx="0">
                  <c:v>119428.28789999997</c:v>
                </c:pt>
                <c:pt idx="1">
                  <c:v>272475.62769999995</c:v>
                </c:pt>
                <c:pt idx="2">
                  <c:v>106130.81490000003</c:v>
                </c:pt>
                <c:pt idx="3">
                  <c:v>125001.96189999998</c:v>
                </c:pt>
                <c:pt idx="4">
                  <c:v>114348.9244</c:v>
                </c:pt>
                <c:pt idx="5">
                  <c:v>174687.4378</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3878648307854525"/>
        <c:crossBetween val="midCat"/>
      </c:valAx>
      <c:valAx>
        <c:axId val="1011451359"/>
        <c:scaling>
          <c:orientation val="minMax"/>
          <c:max val="0.97896"/>
          <c:min val="-0.24175999999999997"/>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2957982933789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15E2299-0099-4172-AADE-71F26D5E5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0D54B2B-6DC1-45C6-8864-EEE7B83512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78FA8CC8-537D-487A-9C70-A4E970C37A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2D25D2E-8632-4FE2-B1F1-B0E0DBA8C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26083D3F-7482-485E-8AA7-71F7CFF548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5150465C-77A2-45EC-AD38-E07BCDA545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13B9F9B-B256-4FB2-9899-B3E46BDEE9C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F35F72EB-B2BE-451D-9607-3803EDA2269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2956</c:v>
                </c:pt>
              </c:numCache>
            </c:numRef>
          </c:xVal>
          <c:yVal>
            <c:numRef>
              <c:f>Sheet1!$B$2:$B$2</c:f>
              <c:numCache>
                <c:formatCode>General</c:formatCode>
                <c:ptCount val="1"/>
                <c:pt idx="0">
                  <c:v>0.3656</c:v>
                </c:pt>
              </c:numCache>
            </c:numRef>
          </c:yVal>
          <c:bubbleSize>
            <c:numRef>
              <c:f>Sheet1!$C$2:$C$2</c:f>
              <c:numCache>
                <c:formatCode>General</c:formatCode>
                <c:ptCount val="1"/>
                <c:pt idx="0">
                  <c:v>13456423.15850001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6"/>
        <c:crossBetween val="midCat"/>
      </c:valAx>
      <c:valAx>
        <c:axId val="1011451359"/>
        <c:scaling>
          <c:orientation val="minMax"/>
          <c:max val="0.79872"/>
          <c:min val="0.0524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FF808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FF8080"/>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spPr>
              <a:solidFill>
                <a:srgbClr val="7ECAC4"/>
              </a:solidFill>
              <a:ln w="10160"/>
            </c:spPr>
            <c:extLst>
              <c:ext xmlns:c16="http://schemas.microsoft.com/office/drawing/2014/chart" uri="{C3380CC4-5D6E-409C-BE32-E72D297353CC}">
                <c16:uniqueId val="{0000000B-7D2A-4F1E-BC80-EAAAE9B08A80}"/>
              </c:ext>
            </c:extLst>
          </c:dPt>
          <c:dPt>
            <c:idx val="5"/>
            <c:invertIfNegative val="0"/>
            <c:bubble3D val="0"/>
            <c:spPr>
              <a:solidFill>
                <a:srgbClr val="006C6D"/>
              </a:solidFill>
              <a:ln w="10160"/>
            </c:spPr>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095D1009-F9CF-479F-981A-9B3332492C5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16B9037D-2A79-4A32-9617-B91D48210D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6D4EB8C-542D-475F-ADA1-F392F5AB2E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AB96FA9C-1CD8-478C-A2BA-53D6497B1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F6C99B98-28E5-40A2-9B5C-53C4F09FC4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815EDF4-B345-40D3-853C-0A7EE9575F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42D18D8-C312-4A43-875F-3C74CAECA7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85879B9-D7CC-4F61-8451-AA5BC4A782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0.7653</c:v>
                </c:pt>
                <c:pt idx="1">
                  <c:v>0.9444</c:v>
                </c:pt>
                <c:pt idx="2">
                  <c:v>0.4494</c:v>
                </c:pt>
                <c:pt idx="3">
                  <c:v>0.4128</c:v>
                </c:pt>
                <c:pt idx="4">
                  <c:v>0.1407</c:v>
                </c:pt>
                <c:pt idx="5">
                  <c:v>0.1083</c:v>
                </c:pt>
              </c:numCache>
            </c:numRef>
          </c:xVal>
          <c:yVal>
            <c:numRef>
              <c:f>Sheet1!$B$2:$B$7</c:f>
              <c:numCache>
                <c:formatCode>General</c:formatCode>
                <c:ptCount val="6"/>
                <c:pt idx="0">
                  <c:v>0.4934</c:v>
                </c:pt>
                <c:pt idx="1">
                  <c:v>0.4911</c:v>
                </c:pt>
                <c:pt idx="2">
                  <c:v>0.4798</c:v>
                </c:pt>
                <c:pt idx="3">
                  <c:v>0.5166</c:v>
                </c:pt>
                <c:pt idx="4">
                  <c:v>0.0104</c:v>
                </c:pt>
                <c:pt idx="5">
                  <c:v>-0.0026</c:v>
                </c:pt>
              </c:numCache>
            </c:numRef>
          </c:yVal>
          <c:bubbleSize>
            <c:numRef>
              <c:f>Sheet1!$C$2:$C$7</c:f>
              <c:numCache>
                <c:formatCode>General</c:formatCode>
                <c:ptCount val="6"/>
                <c:pt idx="0">
                  <c:v>1549808.4677999998</c:v>
                </c:pt>
                <c:pt idx="1">
                  <c:v>3936071.3593999995</c:v>
                </c:pt>
                <c:pt idx="2">
                  <c:v>1407622.4701</c:v>
                </c:pt>
                <c:pt idx="3">
                  <c:v>1730514.1759000001</c:v>
                </c:pt>
                <c:pt idx="4">
                  <c:v>1029392.1368000001</c:v>
                </c:pt>
                <c:pt idx="5">
                  <c:v>1937934.255800000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861199997818633"/>
        <c:crossBetween val="midCat"/>
      </c:valAx>
      <c:valAx>
        <c:axId val="1011451359"/>
        <c:scaling>
          <c:orientation val="minMax"/>
          <c:max val="0.9799199999999999"/>
          <c:min val="-0.2420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569817477760736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646A4E7-BC28-4C38-9315-E0B4FB5429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96D682BB-14A1-4FA7-BD1A-9C60764E9F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FD34C761-B194-44CC-B8E6-6D7DB33CFD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269A61A0-2397-44CF-A4D1-232D8FCD6C6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D52E9E7-755F-45EF-8690-D1EE27815A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7FA8618-A42A-4229-9A4C-518DB57594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439B306-0E1C-4A84-9EAF-496697A3649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CD3A7C48-B519-400F-890B-EAE876A155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6</c:v>
                </c:pt>
              </c:numCache>
            </c:numRef>
          </c:xVal>
          <c:yVal>
            <c:numRef>
              <c:f>Sheet1!$B$2:$B$2</c:f>
              <c:numCache>
                <c:formatCode>General</c:formatCode>
                <c:ptCount val="1"/>
                <c:pt idx="0">
                  <c:v>0.4195</c:v>
                </c:pt>
              </c:numCache>
            </c:numRef>
          </c:yVal>
          <c:bubbleSize>
            <c:numRef>
              <c:f>Sheet1!$C$2:$C$2</c:f>
              <c:numCache>
                <c:formatCode>General</c:formatCode>
                <c:ptCount val="1"/>
                <c:pt idx="0">
                  <c:v>78650.0928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5"/>
        <c:crossBetween val="midCat"/>
      </c:valAx>
      <c:valAx>
        <c:axId val="1011451359"/>
        <c:scaling>
          <c:orientation val="minMax"/>
          <c:max val="0.8634000000000001"/>
          <c:min val="0.095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F97C56BB-CA1B-47C0-88A9-35D4D9CFF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C608AFD-B6AE-4E93-9176-8B13C17578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35992FF-517C-42A3-9CB8-4763748F1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791BA962-8DF6-45C3-8670-E029976986F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5DE907B-B2CC-4CD4-8A3F-815DA351ABA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E1B4CCB1-456E-4E69-96FA-79AC9A1EC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ED75DF8E-E309-4C87-8EC9-8D36FCBD4F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18357557-8C39-4C8C-98E9-E24DF84645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c:v>
                </c:pt>
              </c:numCache>
            </c:numRef>
          </c:yVal>
          <c:bubbleSize>
            <c:numRef>
              <c:f>Sheet1!$C$2:$C$2</c:f>
              <c:numCache>
                <c:formatCode>General</c:formatCode>
                <c:ptCount val="1"/>
                <c:pt idx="0">
                  <c:v>1214691.3791000003</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AB03E35E-972B-4378-B03E-54EF5D6B958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FDEE470B-88ED-46DE-92C4-C1619BFB10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2B8ABAA7-828D-40D8-BC37-F57E63357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BA2D6919-73FF-4EF0-AEFE-C0161424AD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176A5E1-BB42-49A8-A76F-8D6ED8E3A5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A429768-8AB5-420A-BA8E-02F15A9896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F09A869-89E0-4EBC-BAD2-A2A3D0DFD4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1B36B42-D886-40E5-80DD-BFFC38DD03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2</c:v>
                </c:pt>
              </c:numCache>
            </c:numRef>
          </c:xVal>
          <c:yVal>
            <c:numRef>
              <c:f>Sheet1!$B$2:$B$2</c:f>
              <c:numCache>
                <c:formatCode>General</c:formatCode>
                <c:ptCount val="1"/>
                <c:pt idx="0">
                  <c:v>0.4198</c:v>
                </c:pt>
              </c:numCache>
            </c:numRef>
          </c:yVal>
          <c:bubbleSize>
            <c:numRef>
              <c:f>Sheet1!$C$2:$C$2</c:f>
              <c:numCache>
                <c:formatCode>General</c:formatCode>
                <c:ptCount val="1"/>
                <c:pt idx="0">
                  <c:v>1046552.1157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FF808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A119AED-143F-41FC-876E-9411422345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B4338700-8B81-491C-8083-2AB3A1286E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A4FE3941-46E9-44B5-9615-108445196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E553F6A-8DE6-4976-A8BE-8E8869576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2FB9BA2-72ED-43F4-9720-49D61449B0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B3B053A-9FBA-4216-B2C2-EE374689B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3D35A94-52B3-455B-9337-4D712B9B92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A3B79DF-7E79-4025-BFDA-3CE70635C6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89</c:v>
                </c:pt>
              </c:numCache>
            </c:numRef>
          </c:xVal>
          <c:yVal>
            <c:numRef>
              <c:f>Sheet1!$B$2:$B$2</c:f>
              <c:numCache>
                <c:formatCode>General</c:formatCode>
                <c:ptCount val="1"/>
                <c:pt idx="0">
                  <c:v>0.4199</c:v>
                </c:pt>
              </c:numCache>
            </c:numRef>
          </c:yVal>
          <c:bubbleSize>
            <c:numRef>
              <c:f>Sheet1!$C$2:$C$2</c:f>
              <c:numCache>
                <c:formatCode>General</c:formatCode>
                <c:ptCount val="1"/>
                <c:pt idx="0">
                  <c:v>89489.1703999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9"/>
        <c:crossBetween val="midCat"/>
      </c:valAx>
      <c:valAx>
        <c:axId val="1011451359"/>
        <c:scaling>
          <c:orientation val="minMax"/>
          <c:max val="0.86388"/>
          <c:min val="0.0959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8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C00000"/>
              </a:solidFill>
              <a:ln w="10160"/>
            </c:spPr>
            <c:extLst>
              <c:ext xmlns:c16="http://schemas.microsoft.com/office/drawing/2014/chart" uri="{C3380CC4-5D6E-409C-BE32-E72D297353CC}">
                <c16:uniqueId val="{00000005-CFF5-4D9B-9947-2A90D7752FBB}"/>
              </c:ext>
            </c:extLst>
          </c:dPt>
          <c:dPt>
            <c:idx val="3"/>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3FD3176E-885B-4CD0-970D-E563D9B8F72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A5DF5F5-3BA1-4D9C-8742-4AB50BA17D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5B41C4AE-DD5A-44E3-BDC4-59A5587854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388833E-4028-4F7B-8CDD-29D77A267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9F8B47A5-5B47-4C90-9A5E-FE6C94BA27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3AE61101-0672-4FE3-A290-6A4D4CC096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67CCF9E3-D18B-4DA5-B51C-800C5F7183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3CFD6153-2656-4AE8-8D3A-EEED0ACD58C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0.9761</c:v>
                </c:pt>
                <c:pt idx="1">
                  <c:v>0.916</c:v>
                </c:pt>
                <c:pt idx="2">
                  <c:v>1.1417</c:v>
                </c:pt>
                <c:pt idx="3">
                  <c:v>1.275</c:v>
                </c:pt>
              </c:numCache>
            </c:numRef>
          </c:xVal>
          <c:yVal>
            <c:numRef>
              <c:f>Sheet1!$B$2:$B$5</c:f>
              <c:numCache>
                <c:formatCode>General</c:formatCode>
                <c:ptCount val="4"/>
                <c:pt idx="0">
                  <c:v>0.6837</c:v>
                </c:pt>
                <c:pt idx="1">
                  <c:v>0.7386</c:v>
                </c:pt>
                <c:pt idx="2">
                  <c:v>0.7091</c:v>
                </c:pt>
                <c:pt idx="3">
                  <c:v>0.7317</c:v>
                </c:pt>
              </c:numCache>
            </c:numRef>
          </c:yVal>
          <c:bubbleSize>
            <c:numRef>
              <c:f>Sheet1!$C$2:$C$5</c:f>
              <c:numCache>
                <c:formatCode>General</c:formatCode>
                <c:ptCount val="4"/>
                <c:pt idx="0">
                  <c:v>423999.0885</c:v>
                </c:pt>
                <c:pt idx="1">
                  <c:v>1094.5674000000001</c:v>
                </c:pt>
                <c:pt idx="2">
                  <c:v>1343734.6551</c:v>
                </c:pt>
                <c:pt idx="3">
                  <c:v>2611438.9335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24399776706"/>
        <c:crossBetween val="midCat"/>
      </c:valAx>
      <c:valAx>
        <c:axId val="1011451359"/>
        <c:scaling>
          <c:orientation val="minMax"/>
          <c:max val="1.2463199999999999"/>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0850633824635"/>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C9F1CA1-3A86-46E6-BB97-63183303D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A8E5BE3-BB2F-438E-9E5F-4C5A6DA51C1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90970DA5-A300-4638-B6C4-54991FA1E9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F5DB08D-E27F-48CA-9A16-95656551F0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C7C810D4-A5BE-479E-B495-C436F42BB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68FF0417-098E-4248-97F3-B2BF8F156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FFC3174C-B5AF-4C0E-BE61-242DD9F55B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396D5A2-0402-4AC1-84E5-B5936F57ED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5</c:v>
                </c:pt>
                <c:pt idx="1">
                  <c:v>1.1413</c:v>
                </c:pt>
                <c:pt idx="2">
                  <c:v>1.2749</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30082.322399999997</c:v>
                </c:pt>
                <c:pt idx="1">
                  <c:v>85603.14790000001</c:v>
                </c:pt>
                <c:pt idx="2">
                  <c:v>162101.853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195375205523911"/>
        <c:crossBetween val="midCat"/>
      </c:valAx>
      <c:valAx>
        <c:axId val="1011451359"/>
        <c:scaling>
          <c:orientation val="minMax"/>
          <c:max val="1.23804"/>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1306908713518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C0000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3D2466F-B5D3-4B3B-985D-68F2CBB10E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C63B4792-EFBF-4D59-A0EA-D39DB6EE7F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D304D54-22C0-4FF2-8718-D81C13F9469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0BBCE3F-A99A-4FDA-A151-80F9F4D6FD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43C2892-E6D7-400A-86DF-D068C50F85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CFDD857C-4F28-4EA0-8B3A-74F354A072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CFFA273F-F3C8-42D0-AADC-37434E6BAD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BF32ED68-F08C-4BBD-BFD6-8AD99B4E2E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62</c:v>
                </c:pt>
                <c:pt idx="1">
                  <c:v>1.1418</c:v>
                </c:pt>
                <c:pt idx="2">
                  <c:v>1.275</c:v>
                </c:pt>
              </c:numCache>
            </c:numRef>
          </c:xVal>
          <c:yVal>
            <c:numRef>
              <c:f>Sheet1!$B$2:$B$4</c:f>
              <c:numCache>
                <c:formatCode>General</c:formatCode>
                <c:ptCount val="3"/>
                <c:pt idx="0">
                  <c:v>0.6837</c:v>
                </c:pt>
                <c:pt idx="1">
                  <c:v>0.7091</c:v>
                </c:pt>
                <c:pt idx="2">
                  <c:v>0.7317</c:v>
                </c:pt>
              </c:numCache>
            </c:numRef>
          </c:yVal>
          <c:bubbleSize>
            <c:numRef>
              <c:f>Sheet1!$C$2:$C$4</c:f>
              <c:numCache>
                <c:formatCode>General</c:formatCode>
                <c:ptCount val="3"/>
                <c:pt idx="0">
                  <c:v>365615.01729999995</c:v>
                </c:pt>
                <c:pt idx="1">
                  <c:v>1171834.1069000002</c:v>
                </c:pt>
                <c:pt idx="2">
                  <c:v>2266539.6034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1245262543237"/>
        <c:crossBetween val="midCat"/>
      </c:valAx>
      <c:valAx>
        <c:axId val="1011451359"/>
        <c:scaling>
          <c:orientation val="minMax"/>
          <c:max val="1.23804"/>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5248460444637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8080"/>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C6B9E4A4-5CE1-4AA4-BFB9-6F71AC58A4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ED353699-44CB-4AE0-9B5B-AE8624BA01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1B5FB993-7C3F-4B61-BABB-D4E157D5A0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9B37F487-105A-4A35-96D3-B6D4261E802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02518214-DDDA-4C90-A251-4DA29FE3875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9788F8F8-1195-45E7-8667-BF1EE20845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85C7B85C-4765-469E-8144-0CD111E41C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84839B6-DF26-46F5-96F1-72568AB9C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9758</c:v>
                </c:pt>
                <c:pt idx="1">
                  <c:v>1.1412</c:v>
                </c:pt>
                <c:pt idx="2">
                  <c:v>1.2748</c:v>
                </c:pt>
              </c:numCache>
            </c:numRef>
          </c:xVal>
          <c:yVal>
            <c:numRef>
              <c:f>Sheet1!$B$2:$B$4</c:f>
              <c:numCache>
                <c:formatCode>General</c:formatCode>
                <c:ptCount val="3"/>
                <c:pt idx="0">
                  <c:v>0.6837</c:v>
                </c:pt>
                <c:pt idx="1">
                  <c:v>0.7091</c:v>
                </c:pt>
                <c:pt idx="2">
                  <c:v>0.7318</c:v>
                </c:pt>
              </c:numCache>
            </c:numRef>
          </c:yVal>
          <c:bubbleSize>
            <c:numRef>
              <c:f>Sheet1!$C$2:$C$4</c:f>
              <c:numCache>
                <c:formatCode>General</c:formatCode>
                <c:ptCount val="3"/>
                <c:pt idx="0">
                  <c:v>28301.748799999998</c:v>
                </c:pt>
                <c:pt idx="1">
                  <c:v>86297.40030000001</c:v>
                </c:pt>
                <c:pt idx="2">
                  <c:v>182797.47649999996</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6355656443937"/>
        <c:crossBetween val="midCat"/>
      </c:valAx>
      <c:valAx>
        <c:axId val="1011451359"/>
        <c:scaling>
          <c:orientation val="minMax"/>
          <c:max val="1.23816"/>
          <c:min val="0.3069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2075781358280482"/>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7E56F8DA-DC1E-4286-800B-F563250E7C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08A9202C-9E9D-4DFB-ACDF-95A9A9D6B9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C66A914-650E-4AE2-B341-5E8FC25A08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4390EFB8-6E7B-466F-8FCA-849491F2F5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6574A06-33F3-4049-A6AE-1A3EE46A1A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0E36826C-3D91-4EDD-B8CD-DACA08F3C4F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C8E41E9-91FC-48EB-8E7F-4BA4091D5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277F3977-0452-4ACB-8D80-17ACA72F50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0.3829</c:v>
                </c:pt>
              </c:numCache>
            </c:numRef>
          </c:xVal>
          <c:yVal>
            <c:numRef>
              <c:f>Sheet1!$B$2:$B$2</c:f>
              <c:numCache>
                <c:formatCode>General</c:formatCode>
                <c:ptCount val="1"/>
                <c:pt idx="0">
                  <c:v>0.4506</c:v>
                </c:pt>
              </c:numCache>
            </c:numRef>
          </c:yVal>
          <c:bubbleSize>
            <c:numRef>
              <c:f>Sheet1!$C$2:$C$2</c:f>
              <c:numCache>
                <c:formatCode>General</c:formatCode>
                <c:ptCount val="1"/>
                <c:pt idx="0">
                  <c:v>19051381.78219999</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6"/>
        <c:crossBetween val="midCat"/>
      </c:valAx>
      <c:valAx>
        <c:axId val="1011451359"/>
        <c:scaling>
          <c:orientation val="minMax"/>
          <c:max val="0.9007199999999999"/>
          <c:min val="0.12048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29"/>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C00000"/>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FFBFBF"/>
              </a:solidFill>
              <a:ln>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9C0F5A2C-2595-49F3-B124-EA8ADCA27A2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F070060-60B8-4212-A9F8-8A099368B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8D25FE47-5B58-4E37-B554-DA9CE9740E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19C37CF3-ADFD-4C3F-B108-445006CBB3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A897516D-3CE3-46C0-BCA7-C909216647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B62767F2-C181-4FDE-AF6D-6503376AA7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7E905A8D-7E68-4BD3-BBCC-370ED5BA64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B607B95-EE51-4847-B7B9-93C4C9CF36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2.1591</c:v>
                </c:pt>
              </c:numCache>
            </c:numRef>
          </c:xVal>
          <c:yVal>
            <c:numRef>
              <c:f>Sheet1!$B$2:$B$2</c:f>
              <c:numCache>
                <c:formatCode>General</c:formatCode>
                <c:ptCount val="1"/>
                <c:pt idx="0">
                  <c:v>0.4198</c:v>
                </c:pt>
              </c:numCache>
            </c:numRef>
          </c:yVal>
          <c:bubbleSize>
            <c:numRef>
              <c:f>Sheet1!$C$2:$C$2</c:f>
              <c:numCache>
                <c:formatCode>General</c:formatCode>
                <c:ptCount val="1"/>
                <c:pt idx="0">
                  <c:v>1214691.379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3.5999999999999996"/>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198"/>
        <c:crossBetween val="midCat"/>
      </c:valAx>
      <c:valAx>
        <c:axId val="1011451359"/>
        <c:scaling>
          <c:orientation val="minMax"/>
          <c:max val="0.86376"/>
          <c:min val="0.09584000000000002"/>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2.1591"/>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E6E5E5"/>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5F0F7251-4E59-4E8E-8304-A6C10B694F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6A450254-7166-4530-8F5D-7CB4913CCA0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25673C8-AFA5-491E-A4E6-93CF4A84A4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08C841D3-983E-49BB-8F4E-AC5E7A5238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EAD4A540-2566-4DAC-9739-48F642550BD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FB2D149-F0E1-4CAC-AFB1-94AFC8DC00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519F1733-0E2C-41F0-A21B-8368B0C1921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D55325FB-209D-48A6-A297-1D78F613E5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3365</c:v>
                </c:pt>
                <c:pt idx="1">
                  <c:v>1.3228</c:v>
                </c:pt>
                <c:pt idx="2">
                  <c:v>1.324</c:v>
                </c:pt>
              </c:numCache>
            </c:numRef>
          </c:xVal>
          <c:yVal>
            <c:numRef>
              <c:f>Sheet1!$B$2:$B$4</c:f>
              <c:numCache>
                <c:formatCode>General</c:formatCode>
                <c:ptCount val="3"/>
                <c:pt idx="0">
                  <c:v>0.6511</c:v>
                </c:pt>
                <c:pt idx="1">
                  <c:v>0.6533</c:v>
                </c:pt>
                <c:pt idx="2">
                  <c:v>0.6553</c:v>
                </c:pt>
              </c:numCache>
            </c:numRef>
          </c:yVal>
          <c:bubbleSize>
            <c:numRef>
              <c:f>Sheet1!$C$2:$C$4</c:f>
              <c:numCache>
                <c:formatCode>General</c:formatCode>
                <c:ptCount val="3"/>
                <c:pt idx="0">
                  <c:v>386945.9783999999</c:v>
                </c:pt>
                <c:pt idx="1">
                  <c:v>356505.12200000003</c:v>
                </c:pt>
                <c:pt idx="2">
                  <c:v>4851507.52330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6548820910375681"/>
        <c:crossBetween val="midCat"/>
      </c:valAx>
      <c:valAx>
        <c:axId val="1011451359"/>
        <c:scaling>
          <c:orientation val="minMax"/>
          <c:max val="1.14636"/>
          <c:min val="0.28088"/>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324788034171499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006C6D"/>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006C6D"/>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006C6D"/>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85B20331-BC52-437F-A8B4-53D4A245C5A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571F0B36-530C-4D5E-99B2-E1FC163ED1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3F9B97E6-1D84-411E-8A07-8A63F0B589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D5A4602C-F55C-4E16-BEE7-25AC30A1D9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7F16BDEE-F0FC-4B2D-A462-8C1BC0CDC8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5E4DFD7-DCD8-428A-8435-409E08507B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B736D26-2B7B-4CB9-9E50-0F8CA5686F4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7D689074-CD42-4DDB-9D74-6AC03725BD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1.199</c:v>
                </c:pt>
                <c:pt idx="1">
                  <c:v>1.1921</c:v>
                </c:pt>
                <c:pt idx="2">
                  <c:v>1.1967</c:v>
                </c:pt>
              </c:numCache>
            </c:numRef>
          </c:xVal>
          <c:yVal>
            <c:numRef>
              <c:f>Sheet1!$B$2:$B$4</c:f>
              <c:numCache>
                <c:formatCode>General</c:formatCode>
                <c:ptCount val="3"/>
                <c:pt idx="0">
                  <c:v>0.7206</c:v>
                </c:pt>
                <c:pt idx="1">
                  <c:v>0.7195</c:v>
                </c:pt>
                <c:pt idx="2">
                  <c:v>0.7201</c:v>
                </c:pt>
              </c:numCache>
            </c:numRef>
          </c:yVal>
          <c:bubbleSize>
            <c:numRef>
              <c:f>Sheet1!$C$2:$C$4</c:f>
              <c:numCache>
                <c:formatCode>General</c:formatCode>
                <c:ptCount val="3"/>
                <c:pt idx="0">
                  <c:v>297456.80799999996</c:v>
                </c:pt>
                <c:pt idx="1">
                  <c:v>277855.0291</c:v>
                </c:pt>
                <c:pt idx="2">
                  <c:v>3804955.4074999997</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2.4"/>
          <c:min val="0.0"/>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7200958941743835"/>
        <c:crossBetween val="midCat"/>
      </c:valAx>
      <c:valAx>
        <c:axId val="1011451359"/>
        <c:scaling>
          <c:orientation val="minMax"/>
          <c:max val="1.2247199999999998"/>
          <c:min val="0.33560000000000006"/>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1.1965643958365344"/>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E6E5E5"/>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E468B360-1F4A-42EF-9011-EC4065C0B0E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D00A236-5752-4AC7-8B34-219F4BF5A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4A05BC8B-BB59-40A0-AB96-A2499DAC3D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630246D2-6CB0-49F8-AA2B-825E8CCAEC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D8784D5C-5E84-4864-BC31-6515F1613E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2BA04729-1E6A-410F-B902-067532488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AC24E9D8-69B3-46C5-B282-87B05C50D9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63ACFF65-8E70-46C4-B4DB-B965701D6B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2675</c:v>
                </c:pt>
                <c:pt idx="1">
                  <c:v>0.2814</c:v>
                </c:pt>
                <c:pt idx="2">
                  <c:v>0.2993</c:v>
                </c:pt>
              </c:numCache>
            </c:numRef>
          </c:xVal>
          <c:yVal>
            <c:numRef>
              <c:f>Sheet1!$B$2:$B$4</c:f>
              <c:numCache>
                <c:formatCode>General</c:formatCode>
                <c:ptCount val="3"/>
                <c:pt idx="0">
                  <c:v>0.3388</c:v>
                </c:pt>
                <c:pt idx="1">
                  <c:v>0.3546</c:v>
                </c:pt>
                <c:pt idx="2">
                  <c:v>0.3686</c:v>
                </c:pt>
              </c:numCache>
            </c:numRef>
          </c:yVal>
          <c:bubbleSize>
            <c:numRef>
              <c:f>Sheet1!$C$2:$C$4</c:f>
              <c:numCache>
                <c:formatCode>General</c:formatCode>
                <c:ptCount val="3"/>
                <c:pt idx="0">
                  <c:v>912079.5515999999</c:v>
                </c:pt>
                <c:pt idx="1">
                  <c:v>952941.4383000003</c:v>
                </c:pt>
                <c:pt idx="2">
                  <c:v>11591402.168600012</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3655887131003097"/>
        <c:crossBetween val="midCat"/>
      </c:valAx>
      <c:valAx>
        <c:axId val="1011451359"/>
        <c:scaling>
          <c:orientation val="minMax"/>
          <c:max val="0.8023199999999999"/>
          <c:min val="0.03104"/>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2958769669291833"/>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49852504905631"/>
          <c:y val="8.0234415142551627E-2"/>
          <c:w val="0.85068001848273667"/>
          <c:h val="0.80726881362051961"/>
        </c:manualLayout>
      </c:layout>
      <c:bubbleChart>
        <c:varyColors val="0"/>
        <c:ser>
          <c:idx val="0"/>
          <c:order val="0"/>
          <c:tx>
            <c:strRef>
              <c:f>Sheet1!$B$1</c:f>
              <c:strCache>
                <c:ptCount val="1"/>
                <c:pt idx="0">
                  <c:v>Gross Margin %</c:v>
                </c:pt>
              </c:strCache>
            </c:strRef>
          </c:tx>
          <c:spPr>
            <a:solidFill>
              <a:srgbClr val="BCBBBB"/>
            </a:solidFill>
            <a:ln>
              <a:solidFill>
                <a:schemeClr val="bg1"/>
              </a:solidFill>
            </a:ln>
            <a:effectLst/>
          </c:spPr>
          <c:invertIfNegative val="0"/>
          <c:dPt>
            <c:idx val="0"/>
            <c:invertIfNegative val="0"/>
            <c:bubble3D val="0"/>
            <c:spPr>
              <a:solidFill>
                <a:srgbClr val="7ECAC4"/>
              </a:solidFill>
              <a:ln w="10160"/>
            </c:spPr>
            <c:extLst>
              <c:ext xmlns:c16="http://schemas.microsoft.com/office/drawing/2014/chart" uri="{C3380CC4-5D6E-409C-BE32-E72D297353CC}">
                <c16:uniqueId val="{00000001-CFF5-4D9B-9947-2A90D7752FBB}"/>
              </c:ext>
            </c:extLst>
          </c:dPt>
          <c:dPt>
            <c:idx val="1"/>
            <c:invertIfNegative val="0"/>
            <c:bubble3D val="0"/>
            <c:spPr>
              <a:solidFill>
                <a:srgbClr val="7ECAC4"/>
              </a:solidFill>
              <a:ln w="10160">
                <a:solidFill>
                  <a:schemeClr val="bg1"/>
                </a:solidFill>
              </a:ln>
              <a:effectLst/>
            </c:spPr>
            <c:extLst>
              <c:ext xmlns:c16="http://schemas.microsoft.com/office/drawing/2014/chart" uri="{C3380CC4-5D6E-409C-BE32-E72D297353CC}">
                <c16:uniqueId val="{00000003-CFF5-4D9B-9947-2A90D7752FBB}"/>
              </c:ext>
            </c:extLst>
          </c:dPt>
          <c:dPt>
            <c:idx val="2"/>
            <c:invertIfNegative val="0"/>
            <c:bubble3D val="0"/>
            <c:spPr>
              <a:solidFill>
                <a:srgbClr val="7ECAC4"/>
              </a:solidFill>
              <a:ln w="10160"/>
            </c:spPr>
            <c:extLst>
              <c:ext xmlns:c16="http://schemas.microsoft.com/office/drawing/2014/chart" uri="{C3380CC4-5D6E-409C-BE32-E72D297353CC}">
                <c16:uniqueId val="{00000005-CFF5-4D9B-9947-2A90D7752FBB}"/>
              </c:ext>
            </c:extLst>
          </c:dPt>
          <c:dPt>
            <c:idx val="3"/>
            <c:invertIfNegative val="0"/>
            <c:bubble3D val="0"/>
            <c:spPr>
              <a:solidFill>
                <a:schemeClr val="accent2">
                  <a:lumMod val="75000"/>
                </a:schemeClr>
              </a:solidFill>
              <a:ln>
                <a:solidFill>
                  <a:schemeClr val="bg1"/>
                </a:solidFill>
              </a:ln>
              <a:effectLst/>
            </c:spPr>
            <c:extLst>
              <c:ext xmlns:c16="http://schemas.microsoft.com/office/drawing/2014/chart" uri="{C3380CC4-5D6E-409C-BE32-E72D297353CC}">
                <c16:uniqueId val="{0000000A-7D2A-4F1E-BC80-EAAAE9B08A80}"/>
              </c:ext>
            </c:extLst>
          </c:dPt>
          <c:dPt>
            <c:idx val="4"/>
            <c:invertIfNegative val="0"/>
            <c:bubble3D val="0"/>
            <c:extLst>
              <c:ext xmlns:c16="http://schemas.microsoft.com/office/drawing/2014/chart" uri="{C3380CC4-5D6E-409C-BE32-E72D297353CC}">
                <c16:uniqueId val="{0000000B-7D2A-4F1E-BC80-EAAAE9B08A80}"/>
              </c:ext>
            </c:extLst>
          </c:dPt>
          <c:dPt>
            <c:idx val="5"/>
            <c:invertIfNegative val="0"/>
            <c:bubble3D val="0"/>
            <c:extLst>
              <c:ext xmlns:c16="http://schemas.microsoft.com/office/drawing/2014/chart" uri="{C3380CC4-5D6E-409C-BE32-E72D297353CC}">
                <c16:uniqueId val="{0000000C-7D2A-4F1E-BC80-EAAAE9B08A80}"/>
              </c:ext>
            </c:extLst>
          </c:dPt>
          <c:dPt>
            <c:idx val="6"/>
            <c:invertIfNegative val="0"/>
            <c:bubble3D val="0"/>
            <c:spPr>
              <a:solidFill>
                <a:srgbClr val="FF8080"/>
              </a:solidFill>
              <a:ln>
                <a:solidFill>
                  <a:schemeClr val="bg1"/>
                </a:solidFill>
              </a:ln>
              <a:effectLst/>
            </c:spPr>
            <c:extLst>
              <c:ext xmlns:c16="http://schemas.microsoft.com/office/drawing/2014/chart" uri="{C3380CC4-5D6E-409C-BE32-E72D297353CC}">
                <c16:uniqueId val="{0000000F-7D2A-4F1E-BC80-EAAAE9B08A80}"/>
              </c:ext>
            </c:extLst>
          </c:dPt>
          <c:dPt>
            <c:idx val="7"/>
            <c:invertIfNegative val="0"/>
            <c:bubble3D val="0"/>
            <c:extLst>
              <c:ext xmlns:c16="http://schemas.microsoft.com/office/drawing/2014/chart" uri="{C3380CC4-5D6E-409C-BE32-E72D297353CC}">
                <c16:uniqueId val="{0000000D-7D2A-4F1E-BC80-EAAAE9B08A80}"/>
              </c:ext>
            </c:extLst>
          </c:dPt>
          <c:dPt>
            <c:idx val="8"/>
            <c:invertIfNegative val="1"/>
            <c:bubble3D val="0"/>
            <c:spPr>
              <a:solidFill>
                <a:srgbClr val="BCBBBB"/>
              </a:solidFill>
            </c:spPr>
            <c:extLst>
              <c:ext xmlns:c16="http://schemas.microsoft.com/office/drawing/2014/chart" uri="{C3380CC4-5D6E-409C-BE32-E72D297353CC}">
                <c16:uniqueId val="{00000011-78D1-41D4-ABFA-320BD44357BD}"/>
              </c:ext>
            </c:extLst>
          </c:dPt>
          <c:dPt>
            <c:idx val="9"/>
            <c:invertIfNegative val="1"/>
            <c:bubble3D val="0"/>
            <c:spPr>
              <a:solidFill>
                <a:srgbClr val="BCBBBB"/>
              </a:solidFill>
            </c:spPr>
            <c:extLst>
              <c:ext xmlns:c16="http://schemas.microsoft.com/office/drawing/2014/chart" uri="{C3380CC4-5D6E-409C-BE32-E72D297353CC}">
                <c16:uniqueId val="{00000013-78D1-41D4-ABFA-320BD44357BD}"/>
              </c:ext>
            </c:extLst>
          </c:dPt>
          <c:dPt>
            <c:idx val="10"/>
            <c:invertIfNegative val="1"/>
            <c:bubble3D val="0"/>
            <c:spPr>
              <a:solidFill>
                <a:srgbClr val="BCBBBB"/>
              </a:solidFill>
            </c:spPr>
            <c:extLst>
              <c:ext xmlns:c16="http://schemas.microsoft.com/office/drawing/2014/chart" uri="{C3380CC4-5D6E-409C-BE32-E72D297353CC}">
                <c16:uniqueId val="{00000015-78D1-41D4-ABFA-320BD44357BD}"/>
              </c:ext>
            </c:extLst>
          </c:dPt>
          <c:dPt>
            <c:idx val="11"/>
            <c:invertIfNegative val="1"/>
            <c:bubble3D val="0"/>
            <c:spPr>
              <a:solidFill>
                <a:srgbClr val="BCBBBB"/>
              </a:solidFill>
            </c:spPr>
            <c:extLst>
              <c:ext xmlns:c16="http://schemas.microsoft.com/office/drawing/2014/chart" uri="{C3380CC4-5D6E-409C-BE32-E72D297353CC}">
                <c16:uniqueId val="{00000017-78D1-41D4-ABFA-320BD44357BD}"/>
              </c:ext>
            </c:extLst>
          </c:dPt>
          <c:dLbls>
            <c:dLbl>
              <c:idx val="0"/>
              <c:tx>
                <c:rich>
                  <a:bodyPr/>
                  <a:lstStyle/>
                  <a:p>
                    <a:fld id="{10A124FD-6EF2-4040-B84B-59192A8775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FF5-4D9B-9947-2A90D7752FBB}"/>
                </c:ext>
              </c:extLst>
            </c:dLbl>
            <c:dLbl>
              <c:idx val="1"/>
              <c:tx>
                <c:rich>
                  <a:bodyPr/>
                  <a:lstStyle/>
                  <a:p>
                    <a:fld id="{7388229F-D4AF-4445-A977-9B119564FA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F5-4D9B-9947-2A90D7752FBB}"/>
                </c:ext>
              </c:extLst>
            </c:dLbl>
            <c:dLbl>
              <c:idx val="2"/>
              <c:tx>
                <c:rich>
                  <a:bodyPr/>
                  <a:lstStyle/>
                  <a:p>
                    <a:fld id="{694BE398-6A41-4BAF-ADA9-BB0E883091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F5-4D9B-9947-2A90D7752FBB}"/>
                </c:ext>
              </c:extLst>
            </c:dLbl>
            <c:dLbl>
              <c:idx val="3"/>
              <c:tx>
                <c:rich>
                  <a:bodyPr/>
                  <a:lstStyle/>
                  <a:p>
                    <a:fld id="{81447AA3-EDAC-4EDB-845C-D734FE4977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D2A-4F1E-BC80-EAAAE9B08A80}"/>
                </c:ext>
              </c:extLst>
            </c:dLbl>
            <c:dLbl>
              <c:idx val="4"/>
              <c:tx>
                <c:rich>
                  <a:bodyPr/>
                  <a:lstStyle/>
                  <a:p>
                    <a:fld id="{57D6181D-3A83-4004-820A-9F1A94BDC0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D2A-4F1E-BC80-EAAAE9B08A80}"/>
                </c:ext>
              </c:extLst>
            </c:dLbl>
            <c:dLbl>
              <c:idx val="5"/>
              <c:tx>
                <c:rich>
                  <a:bodyPr/>
                  <a:lstStyle/>
                  <a:p>
                    <a:fld id="{75D3EF38-0320-4A85-B855-BA447C55E74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7D2A-4F1E-BC80-EAAAE9B08A80}"/>
                </c:ext>
              </c:extLst>
            </c:dLbl>
            <c:dLbl>
              <c:idx val="6"/>
              <c:tx>
                <c:rich>
                  <a:bodyPr/>
                  <a:lstStyle/>
                  <a:p>
                    <a:fld id="{B6B2575D-90C8-4520-A52A-F3AD01619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D2A-4F1E-BC80-EAAAE9B08A80}"/>
                </c:ext>
              </c:extLst>
            </c:dLbl>
            <c:dLbl>
              <c:idx val="7"/>
              <c:tx>
                <c:rich>
                  <a:bodyPr/>
                  <a:lstStyle/>
                  <a:p>
                    <a:fld id="{846D4E7A-09F0-43AE-A501-8F4BEE3EC8E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D2A-4F1E-BC80-EAAAE9B08A80}"/>
                </c:ext>
              </c:extLst>
            </c:dLbl>
            <c:spPr>
              <a:noFill/>
              <a:ln>
                <a:noFill/>
              </a:ln>
              <a:effectLst/>
            </c:spPr>
            <c:txPr>
              <a:bodyPr wrap="square" lIns="38100" tIns="19050" rIns="38100" bIns="19050" anchor="ctr">
                <a:spAutoFit/>
              </a:bodyPr>
              <a:lstStyle/>
              <a:p>
                <a:pPr>
                  <a:defRPr sz="800"/>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0.3511</c:v>
                </c:pt>
                <c:pt idx="1">
                  <c:v>0.3581</c:v>
                </c:pt>
                <c:pt idx="2">
                  <c:v>0.3878</c:v>
                </c:pt>
              </c:numCache>
            </c:numRef>
          </c:xVal>
          <c:yVal>
            <c:numRef>
              <c:f>Sheet1!$B$2:$B$4</c:f>
              <c:numCache>
                <c:formatCode>General</c:formatCode>
                <c:ptCount val="3"/>
                <c:pt idx="0">
                  <c:v>0.4318</c:v>
                </c:pt>
                <c:pt idx="1">
                  <c:v>0.436</c:v>
                </c:pt>
                <c:pt idx="2">
                  <c:v>0.4532</c:v>
                </c:pt>
              </c:numCache>
            </c:numRef>
          </c:yVal>
          <c:bubbleSize>
            <c:numRef>
              <c:f>Sheet1!$C$2:$C$4</c:f>
              <c:numCache>
                <c:formatCode>General</c:formatCode>
                <c:ptCount val="3"/>
                <c:pt idx="0">
                  <c:v>1299025.53</c:v>
                </c:pt>
                <c:pt idx="1">
                  <c:v>1309446.5603000002</c:v>
                </c:pt>
                <c:pt idx="2">
                  <c:v>16442909.69190001</c:v>
                </c:pt>
              </c:numCache>
            </c:numRef>
          </c:bubbleSize>
          <c:bubble3D val="0"/>
          <c:extLst>
            <c:ext xmlns:c15="http://schemas.microsoft.com/office/drawing/2012/chart" uri="{02D57815-91ED-43cb-92C2-25804820EDAC}">
              <c15:datalabelsRange>
                <c15:f>Sheet1!$E$2:$E$29</c15:f>
                <c15:dlblRangeCache>
                  <c:ptCount val="28"/>
                  <c:pt idx="0">
                    <c:v>Small Tablet - 15g</c:v>
                  </c:pt>
                  <c:pt idx="1">
                    <c:v>Small Tablet - 40g</c:v>
                  </c:pt>
                  <c:pt idx="2">
                    <c:v>Cocoa Creation</c:v>
                  </c:pt>
                  <c:pt idx="3">
                    <c:v>Nugget 3'p</c:v>
                  </c:pt>
                  <c:pt idx="4">
                    <c:v>Nugget 3'p - filled</c:v>
                  </c:pt>
                  <c:pt idx="5">
                    <c:v>Nugget 6'p</c:v>
                  </c:pt>
                  <c:pt idx="6">
                    <c:v>Wafer Chocotubes</c:v>
                  </c:pt>
                  <c:pt idx="7">
                    <c:v>Kisses -18</c:v>
                  </c:pt>
                  <c:pt idx="8">
                    <c:v>Small Tablet - 15g</c:v>
                  </c:pt>
                  <c:pt idx="9">
                    <c:v>Small Tablet - 40g</c:v>
                  </c:pt>
                  <c:pt idx="10">
                    <c:v>Cocoa Creation</c:v>
                  </c:pt>
                  <c:pt idx="11">
                    <c:v>Nugget 3'p</c:v>
                  </c:pt>
                </c15:dlblRangeCache>
              </c15:datalabelsRange>
            </c:ext>
            <c:ext xmlns:c16="http://schemas.microsoft.com/office/drawing/2014/chart" uri="{C3380CC4-5D6E-409C-BE32-E72D297353CC}">
              <c16:uniqueId val="{00000006-CFF5-4D9B-9947-2A90D7752FBB}"/>
            </c:ext>
          </c:extLst>
        </c:ser>
        <c:dLbls>
          <c:dLblPos val="ctr"/>
          <c:showLegendKey val="0"/>
          <c:showVal val="1"/>
          <c:showCatName val="0"/>
          <c:showSerName val="0"/>
          <c:showPercent val="0"/>
          <c:showBubbleSize val="0"/>
        </c:dLbls>
        <c:bubbleScale val="50"/>
        <c:showNegBubbles val="0"/>
        <c:axId val="1004145631"/>
        <c:axId val="1011451359"/>
      </c:bubbleChart>
      <c:valAx>
        <c:axId val="1004145631"/>
        <c:scaling>
          <c:orientation val="minMax"/>
          <c:max val="1.2"/>
          <c:min val="-0.8"/>
        </c:scaling>
        <c:delete val="0"/>
        <c:axPos val="b"/>
        <c:title>
          <c:tx>
            <c:rich>
              <a:bodyPr rot="0" vert="horz"/>
              <a:lstStyle/>
              <a:p>
                <a:pPr>
                  <a:defRPr sz="800">
                    <a:latin typeface="Nexa Bold"/>
                  </a:defRPr>
                </a:pPr>
                <a:r>
                  <a:t>Net Sales/ Vol ($)</a:t>
                </a:r>
              </a:p>
            </c:rich>
          </c:tx>
          <c:layout>
            <c:manualLayout>
              <c:xMode val="edge"/>
              <c:yMode val="edge"/>
              <c:x val="0.79917129147568089"/>
              <c:y val="0.94031746031746022"/>
            </c:manualLayout>
          </c:layout>
          <c:overlay val="0"/>
          <c:spPr>
            <a:noFill/>
            <a:ln>
              <a:noFill/>
            </a:ln>
            <a:effectLst/>
          </c:spPr>
        </c:title>
        <c:numFmt formatCode="#,##0.00" sourceLinked="0"/>
        <c:majorTickMark val="none"/>
        <c:minorTickMark val="none"/>
        <c:tickLblPos val="low"/>
        <c:spPr>
          <a:noFill/>
          <a:ln w="9525" cap="flat" cmpd="sng" algn="ctr">
            <a:solidFill>
              <a:schemeClr val="bg2"/>
            </a:solidFill>
            <a:round/>
          </a:ln>
          <a:effectLst/>
        </c:spPr>
        <c:txPr>
          <a:bodyPr rot="-60000000" vert="horz"/>
          <a:lstStyle/>
          <a:p>
            <a:pPr>
              <a:defRPr sz="800"/>
            </a:pPr>
            <a:endParaRPr lang="en-US"/>
          </a:p>
        </c:txPr>
        <c:crossAx val="1011451359"/>
        <c:crossesAt val="0.45055863635748583"/>
        <c:crossBetween val="midCat"/>
      </c:valAx>
      <c:valAx>
        <c:axId val="1011451359"/>
        <c:scaling>
          <c:orientation val="minMax"/>
          <c:max val="0.90384"/>
          <c:min val="0.10544000000000003"/>
        </c:scaling>
        <c:delete val="0"/>
        <c:axPos val="l"/>
        <c:numFmt formatCode="0%" sourceLinked="0"/>
        <c:majorTickMark val="none"/>
        <c:minorTickMark val="none"/>
        <c:tickLblPos val="low"/>
        <c:spPr>
          <a:noFill/>
          <a:ln w="9525" cap="flat" cmpd="sng" algn="ctr">
            <a:solidFill>
              <a:schemeClr val="bg2">
                <a:alpha val="77000"/>
              </a:schemeClr>
            </a:solidFill>
            <a:round/>
          </a:ln>
          <a:effectLst/>
        </c:spPr>
        <c:txPr>
          <a:bodyPr rot="-60000000" vert="horz"/>
          <a:lstStyle/>
          <a:p>
            <a:pPr>
              <a:defRPr sz="800"/>
            </a:pPr>
            <a:endParaRPr lang="en-US"/>
          </a:p>
        </c:txPr>
        <c:crossAx val="1004145631"/>
        <c:crossesAt val="0.3832562456003696"/>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Nexa Book" panose="00000400000000000000" pitchFamily="2"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60AA5D-4F30-4926-832F-1F6D5DB8C3D3}" type="datetimeFigureOut">
              <a:rPr lang="en-AE" smtClean="0"/>
              <a:t>21/08/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417CA-BF64-4138-B35A-E36A7A78C840}" type="slidenum">
              <a:rPr lang="en-AE" smtClean="0"/>
              <a:t>‹#›</a:t>
            </a:fld>
            <a:endParaRPr lang="en-AE"/>
          </a:p>
        </p:txBody>
      </p:sp>
    </p:spTree>
    <p:extLst>
      <p:ext uri="{BB962C8B-B14F-4D97-AF65-F5344CB8AC3E}">
        <p14:creationId xmlns:p14="http://schemas.microsoft.com/office/powerpoint/2010/main" val="109096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096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094107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6427713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5649971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09817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68814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27094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83792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152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03419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044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13046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r>
              <a:rPr lang="en-US"/>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289828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78413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916327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r>
              <a:rPr lang="en-US"/>
              <a:t>14/01/2024</a:t>
            </a:r>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311731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90528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077200" y="4972050"/>
            <a:ext cx="562799" cy="171450"/>
          </a:xfrm>
          <a:prstGeom prst="rect">
            <a:avLst/>
          </a:prstGeom>
        </p:spPr>
        <p:txBody>
          <a:bodyPr/>
          <a:lstStyle>
            <a:lvl1pPr>
              <a:defRPr/>
            </a:lvl1pPr>
          </a:lstStyle>
          <a:p>
            <a:r>
              <a:rPr lang="en-US" dirty="0"/>
              <a:t>14/01/2024</a:t>
            </a:r>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023644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r>
              <a:rPr lang="en-US"/>
              <a:t>14/01/2024</a:t>
            </a:r>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06911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247400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4066354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325207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358720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r>
              <a:rPr lang="en-US"/>
              <a:t>14/01/2024</a:t>
            </a:r>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428531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r>
              <a:rPr lang="en-US"/>
              <a:t>14/01/2024</a:t>
            </a:r>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5776292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r>
              <a:rPr lang="en-US"/>
              <a:t>14/01/2024</a:t>
            </a:r>
          </a:p>
        </p:txBody>
      </p:sp>
    </p:spTree>
    <p:extLst>
      <p:ext uri="{BB962C8B-B14F-4D97-AF65-F5344CB8AC3E}">
        <p14:creationId xmlns:p14="http://schemas.microsoft.com/office/powerpoint/2010/main" val="4001983691"/>
      </p:ext>
    </p:extLst>
  </p:cSld>
  <p:clrMap bg1="lt1" tx1="dk1" bg2="lt2" tx2="dk2" accent1="accent1" accent2="accent2" accent3="accent3" accent4="accent4" accent5="accent5" accent6="accent6" hlink="hlink" folHlink="folHlink"/>
  <p:sldLayoutIdLst>
    <p:sldLayoutId id="2147483947"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4006" r:id="rId23"/>
    <p:sldLayoutId id="2147484007"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chart" Target="../charts/chart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chart" Target="../charts/chart1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chart" Target="../charts/chart1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chart" Target="../charts/chart1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chart" Target="../charts/chart1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chart" Target="../charts/chart1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chart" Target="../charts/chart1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chart" Target="../charts/chart1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chart" Target="../charts/chart1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chart" Target="../charts/chart1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chart" Target="../charts/chart1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chart" Target="../charts/chart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chart" Target="../charts/chart2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chart" Target="../charts/chart2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chart" Target="../charts/chart2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chart" Target="../charts/chart2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chart" Target="../charts/chart2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chart" Target="../charts/chart2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chart" Target="../charts/chart2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chart" Target="../charts/chart2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chart" Target="../charts/chart2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chart" Target="../charts/chart29.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chart" Target="../charts/chart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chart" Target="../charts/chart30.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chart" Target="../charts/chart31.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chart" Target="../charts/chart32.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chart" Target="../charts/chart33.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chart" Target="../charts/chart3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chart" Target="../charts/chart3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chart" Target="../charts/chart3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chart" Target="../charts/chart3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chart" Target="../charts/chart3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chart" Target="../charts/chart4.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chart" Target="../charts/chart5.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chart" Target="../charts/chart6.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chart" Target="../charts/chart7.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chart" Target="../charts/chart8.xml"/><Relationship Id="rId5" Type="http://schemas.openxmlformats.org/officeDocument/2006/relationships/oleObject" Target="../embeddings/oleObject27.bin"/><Relationship Id="rId6" Type="http://schemas.openxmlformats.org/officeDocument/2006/relationships/image" Target="../media/image28.emf"/></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chart" Target="../charts/chart9.xml"/><Relationship Id="rId5" Type="http://schemas.openxmlformats.org/officeDocument/2006/relationships/oleObject" Target="../embeddings/oleObject27.bin"/><Relationship Id="rId6"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99347" y="1387069"/>
            <a:ext cx="2128292" cy="16943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81450"/>
            <a:ext cx="2622359" cy="12802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99347" y="3081450"/>
            <a:ext cx="2128292" cy="12802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22359" cy="16943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814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6100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119672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82986" y="1387069"/>
            <a:ext cx="2444653" cy="171944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512"/>
            <a:ext cx="2305998" cy="125519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82986" y="3106512"/>
            <a:ext cx="2444653" cy="125519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05998" cy="171944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51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4464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94211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34505" y="1387069"/>
            <a:ext cx="2693134" cy="190086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87930"/>
            <a:ext cx="2057517" cy="107377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34505" y="3287930"/>
            <a:ext cx="2693134" cy="107377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57517" cy="190086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8793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9616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832921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57831" y="1387069"/>
            <a:ext cx="2669808" cy="188911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6180"/>
            <a:ext cx="2080843" cy="108552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57831" y="3276180"/>
            <a:ext cx="2669808" cy="10855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80843" cy="18891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618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1948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289290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03330" y="1387069"/>
            <a:ext cx="2724309" cy="191419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01268"/>
            <a:ext cx="2026342" cy="106044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03330" y="3301268"/>
            <a:ext cx="2724309" cy="106044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26342" cy="191419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0126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6498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267998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52209" y="1387069"/>
            <a:ext cx="2675430" cy="189164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278713"/>
            <a:ext cx="2075221" cy="108299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52209" y="3278713"/>
            <a:ext cx="2675430" cy="10829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75221" cy="18916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ctor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27871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21386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6900455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00539" y="1387069"/>
            <a:ext cx="3227100" cy="197591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62985"/>
            <a:ext cx="1523551" cy="99872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00539" y="3362985"/>
            <a:ext cx="3227100" cy="99872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23551" cy="197591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6298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6219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203952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15918" y="1387069"/>
            <a:ext cx="3211721" cy="196128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48358"/>
            <a:ext cx="1538930" cy="101335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15918" y="3348358"/>
            <a:ext cx="3211721" cy="101335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38930" cy="196128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4835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7757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73036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074949" y="1387069"/>
            <a:ext cx="3252690" cy="198559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72665"/>
            <a:ext cx="1497961" cy="98904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074949" y="3372665"/>
            <a:ext cx="3252690" cy="98904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497961" cy="198559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7266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3660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467537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111824" y="1387069"/>
            <a:ext cx="3215815" cy="196396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351031"/>
            <a:ext cx="1534836" cy="101067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111824" y="3351031"/>
            <a:ext cx="3215815" cy="101067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534836" cy="196396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egment | Manual Shave Men | Pbg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35103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67348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1990778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291112" y="1387069"/>
            <a:ext cx="3036527" cy="161142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98498"/>
            <a:ext cx="1714124" cy="136321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291112" y="2998498"/>
            <a:ext cx="3036527" cy="136321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14124" cy="161142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1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9849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5276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43527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45385" y="1387069"/>
            <a:ext cx="2382254" cy="16883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69"/>
            <a:ext cx="2368397" cy="12863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45385" y="3075369"/>
            <a:ext cx="2382254" cy="12863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68397" cy="16883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3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0704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40496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01319" y="1387069"/>
            <a:ext cx="3026320" cy="162078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07855"/>
            <a:ext cx="1724331" cy="135385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01319" y="3007855"/>
            <a:ext cx="3026320" cy="135385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24331" cy="162078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0785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6297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8165868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20137" y="1387069"/>
            <a:ext cx="3007502" cy="15903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77434"/>
            <a:ext cx="1743149" cy="13842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20137" y="2977434"/>
            <a:ext cx="3007502" cy="13842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43149" cy="15903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774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8179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890513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323929" y="1387069"/>
            <a:ext cx="3003710" cy="157732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64392"/>
            <a:ext cx="1746941" cy="139731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323929" y="2964392"/>
            <a:ext cx="3003710" cy="139731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746941" cy="157732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Manual Shave Men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6439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288558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639297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41010" y="1387069"/>
            <a:ext cx="2886629" cy="152243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9507"/>
            <a:ext cx="1864022" cy="145220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41010" y="2909507"/>
            <a:ext cx="2886629" cy="145220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4022" cy="152243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950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0266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6118765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40570" y="1387069"/>
            <a:ext cx="2887069" cy="15291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6169"/>
            <a:ext cx="1863582" cy="14455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40570" y="2916169"/>
            <a:ext cx="2887069" cy="14455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3582" cy="15291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61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0222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585110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60918" y="1387069"/>
            <a:ext cx="2866721" cy="152890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15969"/>
            <a:ext cx="1883930" cy="144574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60918" y="2915969"/>
            <a:ext cx="2866721" cy="144574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83930" cy="152890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1596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22575"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2848212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439075" y="1387069"/>
            <a:ext cx="2888564" cy="151756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4634"/>
            <a:ext cx="1862087" cy="145707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439075" y="2904634"/>
            <a:ext cx="2888564" cy="145707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862087" cy="151756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System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463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00073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284279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86887" y="1387069"/>
            <a:ext cx="2740752" cy="152143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08500"/>
            <a:ext cx="2009899" cy="145320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86887" y="2908500"/>
            <a:ext cx="2740752" cy="145320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09899" cy="152143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0850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48544"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3432172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04865" y="1387069"/>
            <a:ext cx="2722774" cy="149528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82350"/>
            <a:ext cx="2027877" cy="147935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04865" y="2882350"/>
            <a:ext cx="2722774" cy="147935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27877" cy="149528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8235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66522"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9231706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550853" y="1387069"/>
            <a:ext cx="2776786" cy="15599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947038"/>
            <a:ext cx="1973865" cy="14146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550853" y="2947038"/>
            <a:ext cx="2776786" cy="14146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1973865" cy="15599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2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9470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1251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81159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79394" y="1387069"/>
            <a:ext cx="2148245" cy="172649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13559"/>
            <a:ext cx="2602406" cy="124815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79394" y="3113559"/>
            <a:ext cx="2148245" cy="12481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02406" cy="17264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1355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41051"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1118178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610589" y="1387069"/>
            <a:ext cx="2717050" cy="1488069"/>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2875138"/>
            <a:ext cx="2033601" cy="1486571"/>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610589" y="2875138"/>
            <a:ext cx="2717050" cy="148657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033601" cy="148806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0</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Disposable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2875138"/>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17224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8218861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82071" y="1387069"/>
            <a:ext cx="2445568" cy="1719774"/>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43"/>
            <a:ext cx="2305083" cy="1254866"/>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82071" y="3106843"/>
            <a:ext cx="2445568" cy="12548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05083" cy="17197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1</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43"/>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43728"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9205453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82920" y="1387069"/>
            <a:ext cx="2444719" cy="17197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305932" cy="12549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82920" y="3106806"/>
            <a:ext cx="2444719" cy="12549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05932" cy="17197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2</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4457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54062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83089" y="1387069"/>
            <a:ext cx="2444550" cy="17197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306101" cy="12549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83089" y="3106806"/>
            <a:ext cx="2444550" cy="12549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06101" cy="17197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3</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4474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4522783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82580" y="1387069"/>
            <a:ext cx="2445059" cy="171972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794"/>
            <a:ext cx="2305592" cy="125491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82580" y="3106794"/>
            <a:ext cx="2445059" cy="12549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05592" cy="17197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azor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7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4423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5962835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2379" y="1387069"/>
            <a:ext cx="2365260" cy="1666292"/>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53361"/>
            <a:ext cx="2385391" cy="1308348"/>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2379" y="3053361"/>
            <a:ext cx="2365260" cy="130834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5391" cy="166629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53361"/>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4036"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23593114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54900" y="1387069"/>
            <a:ext cx="2372739" cy="1656525"/>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3594"/>
            <a:ext cx="2377912" cy="1318115"/>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54900" y="3043594"/>
            <a:ext cx="2372739" cy="131811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77912" cy="1656525"/>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Div1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3594"/>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1655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408906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2702" y="1387069"/>
            <a:ext cx="2364937" cy="165465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1719"/>
            <a:ext cx="2385714" cy="131999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2702" y="3041719"/>
            <a:ext cx="2364937" cy="131999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85714" cy="165465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Sc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171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435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7760694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67313" y="1387069"/>
            <a:ext cx="2360326" cy="165318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40257"/>
            <a:ext cx="2390325" cy="132145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67313" y="3040257"/>
            <a:ext cx="2360326" cy="132145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90325" cy="165318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3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SKU | Pbg | Refills | Walmart Nm Corp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4025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2897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395549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386760" y="1387069"/>
            <a:ext cx="1940879" cy="1716068"/>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3137"/>
            <a:ext cx="2809772" cy="1258572"/>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386760" y="3103137"/>
            <a:ext cx="1940879" cy="1258572"/>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09772" cy="1716068"/>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4</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3137"/>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4841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7980342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882920" y="1387069"/>
            <a:ext cx="2444719" cy="1719737"/>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106806"/>
            <a:ext cx="2305932" cy="1254903"/>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882920" y="3106806"/>
            <a:ext cx="2444719" cy="125490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05932" cy="171973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5</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azor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106806"/>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444577"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872990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99323" y="1387069"/>
            <a:ext cx="2128316" cy="1689201"/>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6270"/>
            <a:ext cx="2622335" cy="1285439"/>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99323" y="3076270"/>
            <a:ext cx="2128316" cy="1285439"/>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22335" cy="1689201"/>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6</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System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6270"/>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60980"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017811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3945512" y="1387069"/>
            <a:ext cx="2382127" cy="1688270"/>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339"/>
            <a:ext cx="2368524" cy="1286370"/>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3945512" y="3075339"/>
            <a:ext cx="2382127" cy="12863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368524" cy="1688270"/>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7</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Refill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339"/>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50716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620239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180052" y="1387069"/>
            <a:ext cx="2147587" cy="1684366"/>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1435"/>
            <a:ext cx="2603064" cy="1290274"/>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180052" y="3071435"/>
            <a:ext cx="2147587" cy="1290274"/>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603064" cy="1684366"/>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8</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Disposables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1435"/>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741709"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3907148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remium &amp; Profitable">
            <a:extLst>
              <a:ext uri="{FF2B5EF4-FFF2-40B4-BE49-F238E27FC236}">
                <a16:creationId xmlns:a16="http://schemas.microsoft.com/office/drawing/2014/main" id="{003F2B83-985C-D1FC-1002-DD1661882855}"/>
              </a:ext>
            </a:extLst>
          </p:cNvPr>
          <p:cNvSpPr/>
          <p:nvPr/>
        </p:nvSpPr>
        <p:spPr>
          <a:xfrm>
            <a:off x="4387606" y="1387069"/>
            <a:ext cx="1940033" cy="1688813"/>
          </a:xfrm>
          <a:prstGeom prst="rect">
            <a:avLst/>
          </a:prstGeom>
          <a:solidFill>
            <a:srgbClr val="A6DAD6">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lutive">
            <a:extLst>
              <a:ext uri="{FF2B5EF4-FFF2-40B4-BE49-F238E27FC236}">
                <a16:creationId xmlns:a16="http://schemas.microsoft.com/office/drawing/2014/main" id="{60ACEC5A-EE4F-6038-C401-BFEE803F5F44}"/>
              </a:ext>
            </a:extLst>
          </p:cNvPr>
          <p:cNvSpPr/>
          <p:nvPr/>
        </p:nvSpPr>
        <p:spPr>
          <a:xfrm>
            <a:off x="1576988" y="3075882"/>
            <a:ext cx="2810618" cy="1285827"/>
          </a:xfrm>
          <a:prstGeom prst="rect">
            <a:avLst/>
          </a:prstGeom>
          <a:solidFill>
            <a:srgbClr val="FFBFB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Premium">
            <a:extLst>
              <a:ext uri="{FF2B5EF4-FFF2-40B4-BE49-F238E27FC236}">
                <a16:creationId xmlns:a16="http://schemas.microsoft.com/office/drawing/2014/main" id="{DBC4EC79-EB04-7736-4A54-6C25800EC18B}"/>
              </a:ext>
            </a:extLst>
          </p:cNvPr>
          <p:cNvSpPr/>
          <p:nvPr/>
        </p:nvSpPr>
        <p:spPr>
          <a:xfrm>
            <a:off x="4387606" y="3075882"/>
            <a:ext cx="1940033" cy="1285827"/>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Profitable">
            <a:extLst>
              <a:ext uri="{FF2B5EF4-FFF2-40B4-BE49-F238E27FC236}">
                <a16:creationId xmlns:a16="http://schemas.microsoft.com/office/drawing/2014/main" id="{069AFC5C-B358-AA16-2E02-D3EAF3753888}"/>
              </a:ext>
            </a:extLst>
          </p:cNvPr>
          <p:cNvSpPr/>
          <p:nvPr/>
        </p:nvSpPr>
        <p:spPr>
          <a:xfrm>
            <a:off x="1576988" y="1387069"/>
            <a:ext cx="2810618" cy="1688813"/>
          </a:xfrm>
          <a:prstGeom prst="rect">
            <a:avLst/>
          </a:prstGeom>
          <a:solidFill>
            <a:srgbClr val="7ECAC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0" name="C1">
            <a:extLst>
              <a:ext uri="{FF2B5EF4-FFF2-40B4-BE49-F238E27FC236}">
                <a16:creationId xmlns:a16="http://schemas.microsoft.com/office/drawing/2014/main" id="{A9647C4A-1782-473B-A384-BD0B6BEDAE72}"/>
              </a:ext>
            </a:extLst>
          </p:cNvPr>
          <p:cNvGraphicFramePr/>
          <p:nvPr>
            <p:extLst>
              <p:ext uri="{D42A27DB-BD31-4B8C-83A1-F6EECF244321}">
                <p14:modId xmlns:p14="http://schemas.microsoft.com/office/powerpoint/2010/main" val="932992206"/>
              </p:ext>
            </p:extLst>
          </p:nvPr>
        </p:nvGraphicFramePr>
        <p:xfrm>
          <a:off x="998706" y="1131888"/>
          <a:ext cx="5589420" cy="36004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hink-cell data - do not delete" hidden="1">
            <a:extLst>
              <a:ext uri="{FF2B5EF4-FFF2-40B4-BE49-F238E27FC236}">
                <a16:creationId xmlns:a16="http://schemas.microsoft.com/office/drawing/2014/main" id="{A86976BC-8BDC-FE5E-F062-69530771A3D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15" name="think-cell data - do not delete" hidden="1">
                        <a:extLst>
                          <a:ext uri="{FF2B5EF4-FFF2-40B4-BE49-F238E27FC236}">
                            <a16:creationId xmlns:a16="http://schemas.microsoft.com/office/drawing/2014/main" id="{A86976BC-8BDC-FE5E-F062-69530771A3D3}"/>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86F5F994-7197-5C63-DE98-21E2B5B14C95}"/>
              </a:ext>
            </a:extLst>
          </p:cNvPr>
          <p:cNvSpPr>
            <a:spLocks noGrp="1"/>
          </p:cNvSpPr>
          <p:nvPr>
            <p:ph type="dt" sz="half" idx="14"/>
          </p:nvPr>
        </p:nvSpPr>
        <p:spPr>
          <a:xfrm>
            <a:off x="8082390" y="4972050"/>
            <a:ext cx="557609" cy="171450"/>
          </a:xfrm>
        </p:spPr>
        <p:txBody>
          <a:bodyPr/>
          <a:lstStyle/>
          <a:p>
            <a:r>
              <a:rPr lang="en-US"/>
              <a:t>14/01/2024</a:t>
            </a:r>
          </a:p>
        </p:txBody>
      </p:sp>
      <p:sp>
        <p:nvSpPr>
          <p:cNvPr id="11" name="Footer Placeholder 10">
            <a:extLst>
              <a:ext uri="{FF2B5EF4-FFF2-40B4-BE49-F238E27FC236}">
                <a16:creationId xmlns:a16="http://schemas.microsoft.com/office/drawing/2014/main" id="{88F81809-3FE0-17B6-E88A-FA086EBEA43C}"/>
              </a:ext>
            </a:extLst>
          </p:cNvPr>
          <p:cNvSpPr>
            <a:spLocks noGrp="1"/>
          </p:cNvSpPr>
          <p:nvPr>
            <p:ph type="ftr" sz="quarter" idx="15"/>
          </p:nvPr>
        </p:nvSpPr>
        <p:spPr>
          <a:xfrm>
            <a:off x="546969" y="4970700"/>
            <a:ext cx="6451742" cy="174151"/>
          </a:xfrm>
        </p:spPr>
        <p:txBody>
          <a:bodyPr/>
          <a:lstStyle/>
          <a:p>
            <a:endParaRPr lang="en-US"/>
          </a:p>
        </p:txBody>
      </p:sp>
      <p:sp>
        <p:nvSpPr>
          <p:cNvPr id="9" name="Slide Number Placeholder 8">
            <a:extLst>
              <a:ext uri="{FF2B5EF4-FFF2-40B4-BE49-F238E27FC236}">
                <a16:creationId xmlns:a16="http://schemas.microsoft.com/office/drawing/2014/main" id="{C7B6F90D-64A7-C97A-5566-822826B6D367}"/>
              </a:ext>
            </a:extLst>
          </p:cNvPr>
          <p:cNvSpPr>
            <a:spLocks noGrp="1"/>
          </p:cNvSpPr>
          <p:nvPr>
            <p:ph type="sldNum" sz="quarter" idx="16"/>
          </p:nvPr>
        </p:nvSpPr>
        <p:spPr>
          <a:xfrm>
            <a:off x="8640762" y="4972050"/>
            <a:ext cx="369965" cy="172800"/>
          </a:xfrm>
        </p:spPr>
        <p:txBody>
          <a:bodyPr/>
          <a:lstStyle/>
          <a:p>
            <a:fld id="{7B1F438D-4EAF-094E-9162-80CF3EF77236}" type="slidenum">
              <a:rPr lang="en-US"/>
              <a:pPr/>
              <a:t>9</a:t>
            </a:fld>
            <a:endParaRPr lang="en-US"/>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t>DATA SOURCE: Client P&amp;L</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pPr>
              <a:defRPr b="0"/>
            </a:pPr>
            <a:r>
              <a:t>Net Sales, NS/Vol, Gross Margin | By Retailer | Pbg | Manual Shave Men | P12M</a:t>
            </a:r>
          </a:p>
          <a:p>
            <a:r>
              <a:t>Bubble Size: Net Sales, Bubble Colour: Value IYA</a:t>
            </a:r>
          </a:p>
        </p:txBody>
      </p:sp>
      <p:sp>
        <p:nvSpPr>
          <p:cNvPr id="2" name="Title 1">
            <a:extLst>
              <a:ext uri="{FF2B5EF4-FFF2-40B4-BE49-F238E27FC236}">
                <a16:creationId xmlns:a16="http://schemas.microsoft.com/office/drawing/2014/main" id="{4EC99886-07AC-48B0-9A5B-E41A1F4194F6}"/>
              </a:ext>
            </a:extLst>
          </p:cNvPr>
          <p:cNvSpPr>
            <a:spLocks noGrp="1"/>
          </p:cNvSpPr>
          <p:nvPr>
            <p:ph type="title"/>
          </p:nvPr>
        </p:nvSpPr>
        <p:spPr>
          <a:xfrm>
            <a:off x="504000" y="-1"/>
            <a:ext cx="8136000" cy="771525"/>
          </a:xfrm>
        </p:spPr>
        <p:txBody>
          <a:bodyPr vert="horz"/>
          <a:lstStyle/>
          <a:p>
            <a:r>
              <a:rPr lang="en-US" dirty="0">
                <a:highlight>
                  <a:srgbClr val="FFFF00"/>
                </a:highlight>
              </a:rPr>
              <a:t>Mix Analysis </a:t>
            </a:r>
            <a:r>
              <a:rPr lang="en-US" dirty="0">
                <a:solidFill>
                  <a:schemeClr val="bg2">
                    <a:lumMod val="90000"/>
                  </a:schemeClr>
                </a:solidFill>
                <a:highlight>
                  <a:srgbClr val="FFFF00"/>
                </a:highlight>
              </a:rPr>
              <a:t>(Replace with So What)</a:t>
            </a:r>
          </a:p>
        </p:txBody>
      </p:sp>
      <p:sp>
        <p:nvSpPr>
          <p:cNvPr id="26" name="TextBox 25">
            <a:extLst>
              <a:ext uri="{FF2B5EF4-FFF2-40B4-BE49-F238E27FC236}">
                <a16:creationId xmlns:a16="http://schemas.microsoft.com/office/drawing/2014/main" id="{B9FE3F17-1298-4FD2-985D-6094E832E375}"/>
              </a:ext>
            </a:extLst>
          </p:cNvPr>
          <p:cNvSpPr txBox="1"/>
          <p:nvPr/>
        </p:nvSpPr>
        <p:spPr>
          <a:xfrm>
            <a:off x="1576988" y="3075882"/>
            <a:ext cx="585122"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Margin</a:t>
            </a:r>
          </a:p>
        </p:txBody>
      </p:sp>
      <p:sp>
        <p:nvSpPr>
          <p:cNvPr id="28" name="TextBox 27">
            <a:extLst>
              <a:ext uri="{FF2B5EF4-FFF2-40B4-BE49-F238E27FC236}">
                <a16:creationId xmlns:a16="http://schemas.microsoft.com/office/drawing/2014/main" id="{B22A3877-C04B-4502-8016-2E63B027CDA8}"/>
              </a:ext>
            </a:extLst>
          </p:cNvPr>
          <p:cNvSpPr txBox="1"/>
          <p:nvPr/>
        </p:nvSpPr>
        <p:spPr>
          <a:xfrm>
            <a:off x="1576990" y="1388837"/>
            <a:ext cx="262751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defTabSz="514337">
              <a:defRPr/>
            </a:pPr>
            <a:r>
              <a:rPr lang="en-US" sz="900" dirty="0">
                <a:solidFill>
                  <a:srgbClr val="7ECAC4"/>
                </a:solidFill>
                <a:latin typeface="Nexa Bold"/>
              </a:rPr>
              <a:t>PROFITABLE</a:t>
            </a:r>
          </a:p>
        </p:txBody>
      </p:sp>
      <p:sp>
        <p:nvSpPr>
          <p:cNvPr id="36" name="TextBox 35">
            <a:extLst>
              <a:ext uri="{FF2B5EF4-FFF2-40B4-BE49-F238E27FC236}">
                <a16:creationId xmlns:a16="http://schemas.microsoft.com/office/drawing/2014/main" id="{4C328F05-08F7-4AC5-A85A-DDCD9302ED38}"/>
              </a:ext>
            </a:extLst>
          </p:cNvPr>
          <p:cNvSpPr txBox="1"/>
          <p:nvPr/>
        </p:nvSpPr>
        <p:spPr>
          <a:xfrm>
            <a:off x="3709969" y="1388837"/>
            <a:ext cx="2617670" cy="278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t">
            <a:noAutofit/>
          </a:bodyPr>
          <a:lstStyle/>
          <a:p>
            <a:pPr algn="r" defTabSz="514337">
              <a:defRPr/>
            </a:pPr>
            <a:r>
              <a:rPr lang="en-US" sz="900" dirty="0">
                <a:solidFill>
                  <a:srgbClr val="00A097"/>
                </a:solidFill>
                <a:latin typeface="Nexa Bold"/>
              </a:rPr>
              <a:t>PREMIUM &amp; PROFITABLE</a:t>
            </a:r>
          </a:p>
        </p:txBody>
      </p:sp>
      <p:graphicFrame>
        <p:nvGraphicFramePr>
          <p:cNvPr id="6" name="Table 11">
            <a:extLst>
              <a:ext uri="{FF2B5EF4-FFF2-40B4-BE49-F238E27FC236}">
                <a16:creationId xmlns:a16="http://schemas.microsoft.com/office/drawing/2014/main" id="{B3D868FA-DAA8-8D29-B878-51C798CC1CC8}"/>
              </a:ext>
            </a:extLst>
          </p:cNvPr>
          <p:cNvGraphicFramePr>
            <a:graphicFrameLocks noGrp="1"/>
          </p:cNvGraphicFramePr>
          <p:nvPr>
            <p:extLst>
              <p:ext uri="{D42A27DB-BD31-4B8C-83A1-F6EECF244321}">
                <p14:modId xmlns:p14="http://schemas.microsoft.com/office/powerpoint/2010/main" val="3748233356"/>
              </p:ext>
            </p:extLst>
          </p:nvPr>
        </p:nvGraphicFramePr>
        <p:xfrm>
          <a:off x="6604049" y="4778408"/>
          <a:ext cx="2042745" cy="172800"/>
        </p:xfrm>
        <a:graphic>
          <a:graphicData uri="http://schemas.openxmlformats.org/drawingml/2006/table">
            <a:tbl>
              <a:tblPr firstRow="1" bandRow="1">
                <a:tableStyleId>{5C22544A-7EE6-4342-B048-85BDC9FD1C3A}</a:tableStyleId>
              </a:tblPr>
              <a:tblGrid>
                <a:gridCol w="408549">
                  <a:extLst>
                    <a:ext uri="{9D8B030D-6E8A-4147-A177-3AD203B41FA5}">
                      <a16:colId xmlns:a16="http://schemas.microsoft.com/office/drawing/2014/main" val="441706476"/>
                    </a:ext>
                  </a:extLst>
                </a:gridCol>
                <a:gridCol w="408549">
                  <a:extLst>
                    <a:ext uri="{9D8B030D-6E8A-4147-A177-3AD203B41FA5}">
                      <a16:colId xmlns:a16="http://schemas.microsoft.com/office/drawing/2014/main" val="766531409"/>
                    </a:ext>
                  </a:extLst>
                </a:gridCol>
                <a:gridCol w="408549">
                  <a:extLst>
                    <a:ext uri="{9D8B030D-6E8A-4147-A177-3AD203B41FA5}">
                      <a16:colId xmlns:a16="http://schemas.microsoft.com/office/drawing/2014/main" val="1424301916"/>
                    </a:ext>
                  </a:extLst>
                </a:gridCol>
                <a:gridCol w="408549">
                  <a:extLst>
                    <a:ext uri="{9D8B030D-6E8A-4147-A177-3AD203B41FA5}">
                      <a16:colId xmlns:a16="http://schemas.microsoft.com/office/drawing/2014/main" val="108289823"/>
                    </a:ext>
                  </a:extLst>
                </a:gridCol>
                <a:gridCol w="408549">
                  <a:extLst>
                    <a:ext uri="{9D8B030D-6E8A-4147-A177-3AD203B41FA5}">
                      <a16:colId xmlns:a16="http://schemas.microsoft.com/office/drawing/2014/main" val="1291184828"/>
                    </a:ext>
                  </a:extLst>
                </a:gridCol>
              </a:tblGrid>
              <a:tr h="172800">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0 Ix</a:t>
                      </a:r>
                    </a:p>
                  </a:txBody>
                  <a:tcPr marL="0" marR="0" marT="0" marB="0" anchor="ctr">
                    <a:solidFill>
                      <a:schemeClr val="accent5"/>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lt;98 Ix</a:t>
                      </a:r>
                    </a:p>
                  </a:txBody>
                  <a:tcPr marL="0" marR="0" marT="0" marB="0" anchor="ctr">
                    <a:solidFill>
                      <a:schemeClr val="accent5">
                        <a:lumMod val="40000"/>
                        <a:lumOff val="60000"/>
                      </a:schemeClr>
                    </a:solidFill>
                  </a:tcPr>
                </a:tc>
                <a:tc>
                  <a:txBody>
                    <a:bodyPr/>
                    <a:lstStyle/>
                    <a:p>
                      <a:pPr algn="ctr">
                        <a:lnSpc>
                          <a:spcPct val="80000"/>
                        </a:lnSpc>
                      </a:pPr>
                      <a:endParaRPr lang="en-US" sz="800" b="0" dirty="0">
                        <a:latin typeface="Nexa Book" panose="00000400000000000000" pitchFamily="50" charset="0"/>
                        <a:ea typeface="Open Sans" panose="020B0606030504020204" pitchFamily="34" charset="0"/>
                        <a:cs typeface="Open Sans" panose="020B0606030504020204" pitchFamily="34" charset="0"/>
                      </a:endParaRPr>
                    </a:p>
                  </a:txBody>
                  <a:tcPr marL="0" marR="0" marT="0" marB="0" anchor="ctr">
                    <a:solidFill>
                      <a:srgbClr val="BCBBBB"/>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02 Ix</a:t>
                      </a:r>
                    </a:p>
                  </a:txBody>
                  <a:tcPr marL="0" marR="0" marT="0" marB="0" anchor="ctr">
                    <a:solidFill>
                      <a:srgbClr val="7ECAC4"/>
                    </a:solidFill>
                  </a:tcPr>
                </a:tc>
                <a:tc>
                  <a:txBody>
                    <a:bodyPr/>
                    <a:lstStyle/>
                    <a:p>
                      <a:pPr algn="ctr">
                        <a:lnSpc>
                          <a:spcPct val="80000"/>
                        </a:lnSpc>
                      </a:pPr>
                      <a:r>
                        <a:rPr lang="en-US" sz="800" b="0" dirty="0">
                          <a:latin typeface="Nexa Book" panose="00000400000000000000" pitchFamily="50" charset="0"/>
                          <a:ea typeface="Open Sans" panose="020B0606030504020204" pitchFamily="34" charset="0"/>
                          <a:cs typeface="Open Sans" panose="020B0606030504020204" pitchFamily="34" charset="0"/>
                        </a:rPr>
                        <a:t>&gt;110 Ix</a:t>
                      </a:r>
                    </a:p>
                  </a:txBody>
                  <a:tcPr marL="0" marR="0" marT="0" marB="0" anchor="ctr">
                    <a:solidFill>
                      <a:srgbClr val="006C6D"/>
                    </a:solidFill>
                  </a:tcPr>
                </a:tc>
                <a:extLst>
                  <a:ext uri="{0D108BD9-81ED-4DB2-BD59-A6C34878D82A}">
                    <a16:rowId xmlns:a16="http://schemas.microsoft.com/office/drawing/2014/main" val="2734807937"/>
                  </a:ext>
                </a:extLst>
              </a:tr>
            </a:tbl>
          </a:graphicData>
        </a:graphic>
      </p:graphicFrame>
      <p:sp>
        <p:nvSpPr>
          <p:cNvPr id="18" name="TextBox 17">
            <a:extLst>
              <a:ext uri="{FF2B5EF4-FFF2-40B4-BE49-F238E27FC236}">
                <a16:creationId xmlns:a16="http://schemas.microsoft.com/office/drawing/2014/main" id="{017EED06-08CB-733B-2D0C-6DFF929DFF71}"/>
              </a:ext>
            </a:extLst>
          </p:cNvPr>
          <p:cNvSpPr txBox="1"/>
          <p:nvPr/>
        </p:nvSpPr>
        <p:spPr>
          <a:xfrm>
            <a:off x="6597257" y="1131888"/>
            <a:ext cx="2042747" cy="360045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5000" tIns="135000" rIns="135000" bIns="135000" rtlCol="0" anchor="ctr">
            <a:noAutofit/>
          </a:bodyPr>
          <a:lstStyle/>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a:p>
            <a:pPr defTabSz="514337">
              <a:defRPr/>
            </a:pPr>
            <a:endParaRPr lang="en-US" sz="1000">
              <a:solidFill>
                <a:srgbClr val="575555"/>
              </a:solidFill>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007B32B1-7E93-B5F3-398B-948E6C4D514F}"/>
              </a:ext>
            </a:extLst>
          </p:cNvPr>
          <p:cNvSpPr txBox="1"/>
          <p:nvPr/>
        </p:nvSpPr>
        <p:spPr>
          <a:xfrm rot="16200000">
            <a:off x="3949263" y="3813069"/>
            <a:ext cx="876686" cy="16994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defTabSz="514337">
              <a:defRPr/>
            </a:pPr>
            <a:r>
              <a:rPr lang="en-US" sz="750" dirty="0">
                <a:solidFill>
                  <a:srgbClr val="575555"/>
                </a:solidFill>
                <a:latin typeface="Nexa Book" panose="00000400000000000000" pitchFamily="50" charset="0"/>
              </a:rPr>
              <a:t>Mean NS/Volume</a:t>
            </a:r>
          </a:p>
        </p:txBody>
      </p:sp>
      <p:sp>
        <p:nvSpPr>
          <p:cNvPr id="5" name="TextBox 4">
            <a:extLst>
              <a:ext uri="{FF2B5EF4-FFF2-40B4-BE49-F238E27FC236}">
                <a16:creationId xmlns:a16="http://schemas.microsoft.com/office/drawing/2014/main" id="{6248FEE3-6203-432F-1EA8-371704A4B954}"/>
              </a:ext>
            </a:extLst>
          </p:cNvPr>
          <p:cNvSpPr txBox="1"/>
          <p:nvPr/>
        </p:nvSpPr>
        <p:spPr>
          <a:xfrm>
            <a:off x="546969" y="1278420"/>
            <a:ext cx="672231" cy="33855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rtl="0">
              <a:defRPr sz="1000" b="1" i="0" u="none" strike="noStrike" kern="1200" baseline="0">
                <a:solidFill>
                  <a:srgbClr val="00A097"/>
                </a:solidFill>
                <a:latin typeface="Nexa Bold" panose="00000800000000000000" pitchFamily="2" charset="0"/>
                <a:ea typeface="+mn-ea"/>
                <a:cs typeface="+mn-cs"/>
              </a:defRPr>
            </a:pPr>
            <a:r>
              <a:rPr lang="en-US" sz="800" dirty="0">
                <a:solidFill>
                  <a:schemeClr val="tx1"/>
                </a:solidFill>
                <a:latin typeface="Nexa Bold" panose="00000800000000000000" pitchFamily="2" charset="0"/>
              </a:rPr>
              <a:t>Gross</a:t>
            </a:r>
            <a:r>
              <a:rPr lang="en-US" sz="800" baseline="0" dirty="0">
                <a:solidFill>
                  <a:schemeClr val="tx1"/>
                </a:solidFill>
                <a:latin typeface="Nexa Bold" panose="00000800000000000000" pitchFamily="2" charset="0"/>
              </a:rPr>
              <a:t> </a:t>
            </a:r>
          </a:p>
          <a:p>
            <a:pPr rtl="0">
              <a:defRPr sz="1000" b="1" i="0" u="none" strike="noStrike" kern="1200" baseline="0">
                <a:solidFill>
                  <a:srgbClr val="00A097"/>
                </a:solidFill>
                <a:latin typeface="Nexa Bold" panose="00000800000000000000" pitchFamily="2" charset="0"/>
                <a:ea typeface="+mn-ea"/>
                <a:cs typeface="+mn-cs"/>
              </a:defRPr>
            </a:pPr>
            <a:r>
              <a:rPr lang="en-US" sz="800" baseline="0" dirty="0">
                <a:solidFill>
                  <a:schemeClr val="tx1"/>
                </a:solidFill>
                <a:latin typeface="Nexa Bold" panose="00000800000000000000" pitchFamily="2" charset="0"/>
              </a:rPr>
              <a:t>Margin%</a:t>
            </a:r>
            <a:endParaRPr lang="en-US" sz="800" dirty="0">
              <a:solidFill>
                <a:schemeClr val="tx1"/>
              </a:solidFill>
              <a:latin typeface="Nexa Bold" panose="00000800000000000000" pitchFamily="2" charset="0"/>
            </a:endParaRPr>
          </a:p>
        </p:txBody>
      </p:sp>
      <p:sp>
        <p:nvSpPr>
          <p:cNvPr id="16" name="chartbox">
            <a:extLst>
              <a:ext uri="{FF2B5EF4-FFF2-40B4-BE49-F238E27FC236}">
                <a16:creationId xmlns:a16="http://schemas.microsoft.com/office/drawing/2014/main" id="{4A0AAB9F-F232-A72C-69F6-9D0A0E63A294}"/>
              </a:ext>
            </a:extLst>
          </p:cNvPr>
          <p:cNvSpPr/>
          <p:nvPr/>
        </p:nvSpPr>
        <p:spPr>
          <a:xfrm>
            <a:off x="1576988" y="1387069"/>
            <a:ext cx="4750651" cy="2974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TextBox 36">
            <a:extLst>
              <a:ext uri="{FF2B5EF4-FFF2-40B4-BE49-F238E27FC236}">
                <a16:creationId xmlns:a16="http://schemas.microsoft.com/office/drawing/2014/main" id="{59DDF594-9BF8-4F21-A7DF-3E4F54F5CBBC}"/>
              </a:ext>
            </a:extLst>
          </p:cNvPr>
          <p:cNvSpPr txBox="1"/>
          <p:nvPr/>
        </p:nvSpPr>
        <p:spPr>
          <a:xfrm>
            <a:off x="1576990" y="4110727"/>
            <a:ext cx="2627354" cy="250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defTabSz="514337">
              <a:defRPr/>
            </a:pPr>
            <a:r>
              <a:rPr lang="en-US" sz="900" dirty="0">
                <a:solidFill>
                  <a:srgbClr val="C00000"/>
                </a:solidFill>
                <a:latin typeface="Nexa Bold"/>
              </a:rPr>
              <a:t>DILUTIVE</a:t>
            </a:r>
          </a:p>
        </p:txBody>
      </p:sp>
      <p:sp>
        <p:nvSpPr>
          <p:cNvPr id="38" name="TextBox 37">
            <a:extLst>
              <a:ext uri="{FF2B5EF4-FFF2-40B4-BE49-F238E27FC236}">
                <a16:creationId xmlns:a16="http://schemas.microsoft.com/office/drawing/2014/main" id="{EF875C05-B6E4-4549-AB0A-0819C2845AE2}"/>
              </a:ext>
            </a:extLst>
          </p:cNvPr>
          <p:cNvSpPr txBox="1"/>
          <p:nvPr/>
        </p:nvSpPr>
        <p:spPr>
          <a:xfrm>
            <a:off x="3709969" y="4114841"/>
            <a:ext cx="2617670" cy="246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b">
            <a:noAutofit/>
          </a:bodyPr>
          <a:lstStyle/>
          <a:p>
            <a:pPr algn="r" defTabSz="514337">
              <a:defRPr/>
            </a:pPr>
            <a:r>
              <a:rPr lang="en-US" sz="900" dirty="0">
                <a:solidFill>
                  <a:srgbClr val="7ECAC4"/>
                </a:solidFill>
                <a:latin typeface="Nexa Bold"/>
              </a:rPr>
              <a:t>PREMIUM</a:t>
            </a:r>
          </a:p>
        </p:txBody>
      </p:sp>
    </p:spTree>
    <p:extLst>
      <p:ext uri="{BB962C8B-B14F-4D97-AF65-F5344CB8AC3E}">
        <p14:creationId xmlns:p14="http://schemas.microsoft.com/office/powerpoint/2010/main" val="1447269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113E98-7689-4749-B74E-87793737B60D}">
  <ds:schemaRefs>
    <ds:schemaRef ds:uri="http://schemas.microsoft.com/sharepoint/v3/contenttype/forms"/>
  </ds:schemaRefs>
</ds:datastoreItem>
</file>

<file path=customXml/itemProps2.xml><?xml version="1.0" encoding="utf-8"?>
<ds:datastoreItem xmlns:ds="http://schemas.openxmlformats.org/officeDocument/2006/customXml" ds:itemID="{B0E6D800-E7DA-4662-9B53-41A7912895DF}">
  <ds:schemaRefs>
    <ds:schemaRef ds:uri="http://schemas.openxmlformats.org/package/2006/metadata/core-propertie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purl.org/dc/terms/"/>
    <ds:schemaRef ds:uri="http://www.w3.org/XML/1998/namespace"/>
    <ds:schemaRef ds:uri="0ad93b7f-b0cd-4c46-aaaf-ff14495948cf"/>
    <ds:schemaRef ds:uri="474cf4e4-8a51-432b-9e1b-0ea607ac38ff"/>
  </ds:schemaRefs>
</ds:datastoreItem>
</file>

<file path=customXml/itemProps3.xml><?xml version="1.0" encoding="utf-8"?>
<ds:datastoreItem xmlns:ds="http://schemas.openxmlformats.org/officeDocument/2006/customXml" ds:itemID="{CD067C82-E5C5-438E-9BC0-F429873EE7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1</TotalTime>
  <Words>3116</Words>
  <Application>Microsoft Office PowerPoint</Application>
  <PresentationFormat>On-screen Show (16:9)</PresentationFormat>
  <Paragraphs>912</Paragraphs>
  <Slides>38</Slides>
  <Notes>3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lpstr>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x Analysis (Replace with So What)</dc:title>
  <dc:creator>Bhagya RANASINGHE</dc:creator>
  <cp:lastModifiedBy>Salma ANANY</cp:lastModifiedBy>
  <cp:revision>54</cp:revision>
  <dcterms:created xsi:type="dcterms:W3CDTF">2024-07-05T15:31:56Z</dcterms:created>
  <dcterms:modified xsi:type="dcterms:W3CDTF">2025-08-21T08:4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